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2"/>
  </p:notesMasterIdLst>
  <p:sldIdLst>
    <p:sldId id="2598" r:id="rId2"/>
    <p:sldId id="2607" r:id="rId3"/>
    <p:sldId id="431" r:id="rId4"/>
    <p:sldId id="2608" r:id="rId5"/>
    <p:sldId id="2627" r:id="rId6"/>
    <p:sldId id="2611" r:id="rId7"/>
    <p:sldId id="2612" r:id="rId8"/>
    <p:sldId id="2614" r:id="rId9"/>
    <p:sldId id="2613" r:id="rId10"/>
    <p:sldId id="2615" r:id="rId11"/>
    <p:sldId id="2629" r:id="rId12"/>
    <p:sldId id="2616" r:id="rId13"/>
    <p:sldId id="2617" r:id="rId14"/>
    <p:sldId id="2619" r:id="rId15"/>
    <p:sldId id="2618" r:id="rId16"/>
    <p:sldId id="2622" r:id="rId17"/>
    <p:sldId id="2623" r:id="rId18"/>
    <p:sldId id="2624" r:id="rId19"/>
    <p:sldId id="2628" r:id="rId20"/>
    <p:sldId id="2625" r:id="rId21"/>
  </p:sldIdLst>
  <p:sldSz cx="12192000" cy="6858000"/>
  <p:notesSz cx="6858000" cy="9144000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folien" id="{3E6C9EF1-D882-4C55-A08F-244A762B696A}">
          <p14:sldIdLst>
            <p14:sldId id="2598"/>
          </p14:sldIdLst>
        </p14:section>
        <p14:section name="Agenda" id="{96DF2114-22F9-480E-B180-4B3B8C1FF9A2}">
          <p14:sldIdLst>
            <p14:sldId id="2607"/>
          </p14:sldIdLst>
        </p14:section>
        <p14:section name="Python" id="{32261FCD-A1CF-421E-AAD7-61F8B72BFF9D}">
          <p14:sldIdLst>
            <p14:sldId id="431"/>
            <p14:sldId id="2608"/>
          </p14:sldIdLst>
        </p14:section>
        <p14:section name="Numpy" id="{D856653C-3EAE-4341-AE3E-D7794038D04D}">
          <p14:sldIdLst>
            <p14:sldId id="2627"/>
            <p14:sldId id="2611"/>
            <p14:sldId id="2612"/>
            <p14:sldId id="2614"/>
            <p14:sldId id="2613"/>
            <p14:sldId id="2615"/>
            <p14:sldId id="2629"/>
            <p14:sldId id="2616"/>
            <p14:sldId id="2617"/>
            <p14:sldId id="2619"/>
            <p14:sldId id="2618"/>
          </p14:sldIdLst>
        </p14:section>
        <p14:section name="Matplotlib" id="{9E698561-3B35-A74D-AA44-2F6C41B10511}">
          <p14:sldIdLst>
            <p14:sldId id="2622"/>
            <p14:sldId id="2623"/>
            <p14:sldId id="2624"/>
          </p14:sldIdLst>
        </p14:section>
        <p14:section name="final_thoughts" id="{320BC830-DAED-FF47-B226-3AC2A1C4629F}">
          <p14:sldIdLst>
            <p14:sldId id="2628"/>
            <p14:sldId id="262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7DAF7"/>
    <a:srgbClr val="B1B50B"/>
    <a:srgbClr val="59A798"/>
    <a:srgbClr val="AD007C"/>
    <a:srgbClr val="80C535"/>
    <a:srgbClr val="E7B457"/>
    <a:srgbClr val="9A9A16"/>
    <a:srgbClr val="969696"/>
    <a:srgbClr val="C8C8C8"/>
    <a:srgbClr val="50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0B7C33E-B3DF-4F67-93CD-F8DFB2F92803}">
  <a:tblStyle styleId="{90B7C33E-B3DF-4F67-93CD-F8DFB2F92803}" styleName="Uni Augsburg Table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  <a:insideH>
            <a:ln w="6350" cmpd="sng">
              <a:solidFill>
                <a:schemeClr val="accent1"/>
              </a:solidFill>
            </a:ln>
          </a:insideH>
          <a:insideV>
            <a:ln w="6350" cmpd="sng">
              <a:solidFill>
                <a:schemeClr val="accent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band1H>
    <a:band2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accent1">
              <a:tint val="30000"/>
            </a:schemeClr>
          </a:solidFill>
        </a:fill>
      </a:tcStyle>
    </a:band2H>
    <a:band1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lt1"/>
          </a:solidFill>
        </a:fill>
      </a:tcStyle>
    </a:band1V>
    <a:band2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accent1">
              <a:tint val="30000"/>
            </a:schemeClr>
          </a:solidFill>
        </a:fill>
      </a:tcStyle>
    </a:band2V>
    <a:la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>
              <a:lumMod val="75000"/>
            </a:schemeClr>
          </a:solidFill>
        </a:fill>
      </a:tcStyle>
    </a:lastCol>
    <a:fir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>
          <a:top>
            <a:ln w="6350" cmpd="sng">
              <a:solidFill>
                <a:schemeClr val="dk2">
                  <a:tint val="30000"/>
                </a:schemeClr>
              </a:solidFill>
            </a:ln>
          </a:top>
          <a:insideV>
            <a:ln w="6350" cmpd="sng">
              <a:solidFill>
                <a:schemeClr val="dk2">
                  <a:tint val="30000"/>
                </a:schemeClr>
              </a:solidFill>
            </a:ln>
          </a:insideV>
        </a:tcBdr>
        <a:fill>
          <a:solidFill>
            <a:schemeClr val="dk2">
              <a:lumMod val="75000"/>
            </a:schemeClr>
          </a:solidFill>
        </a:fill>
      </a:tcStyle>
    </a:lastRow>
    <a:firstRow>
      <a:tcTxStyle b="off">
        <a:fontRef idx="minor">
          <a:prstClr val="black"/>
        </a:fontRef>
        <a:schemeClr val="lt1"/>
      </a:tcTxStyle>
      <a:tcStyle>
        <a:tcBdr>
          <a:bottom>
            <a:ln w="6350" cmpd="sng">
              <a:solidFill>
                <a:schemeClr val="dk2">
                  <a:tint val="40000"/>
                </a:schemeClr>
              </a:solidFill>
            </a:ln>
          </a:bottom>
          <a:insideV>
            <a:ln w="6350" cmpd="sng">
              <a:solidFill>
                <a:schemeClr val="dk2">
                  <a:tint val="40000"/>
                </a:schemeClr>
              </a:solidFill>
            </a:ln>
          </a:insideV>
        </a:tcBdr>
        <a:fill>
          <a:solidFill>
            <a:schemeClr val="dk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039" autoAdjust="0"/>
    <p:restoredTop sz="94243" autoAdjust="0"/>
  </p:normalViewPr>
  <p:slideViewPr>
    <p:cSldViewPr snapToGrid="0">
      <p:cViewPr>
        <p:scale>
          <a:sx n="91" d="100"/>
          <a:sy n="91" d="100"/>
        </p:scale>
        <p:origin x="144" y="864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  <p:sld r:id="rId13" collapse="1"/>
      <p:sld r:id="rId14" collapse="1"/>
      <p:sld r:id="rId15" collapse="1"/>
      <p:sld r:id="rId16" collapse="1"/>
      <p:sld r:id="rId17" collapse="1"/>
      <p:sld r:id="rId18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notesMaster" Target="notesMasters/notesMaster1.xml"/><Relationship Id="rId23" Type="http://schemas.openxmlformats.org/officeDocument/2006/relationships/tags" Target="tags/tag1.xml"/><Relationship Id="rId24" Type="http://schemas.openxmlformats.org/officeDocument/2006/relationships/presProps" Target="presProps.xml"/><Relationship Id="rId25" Type="http://schemas.openxmlformats.org/officeDocument/2006/relationships/viewProps" Target="viewProps.xml"/><Relationship Id="rId26" Type="http://schemas.openxmlformats.org/officeDocument/2006/relationships/theme" Target="theme/theme1.xml"/><Relationship Id="rId27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_rels/viewProps.xml.rels><?xml version="1.0" encoding="UTF-8" standalone="yes"?>
<Relationships xmlns="http://schemas.openxmlformats.org/package/2006/relationships"><Relationship Id="rId11" Type="http://schemas.openxmlformats.org/officeDocument/2006/relationships/slide" Target="slides/slide13.xml"/><Relationship Id="rId12" Type="http://schemas.openxmlformats.org/officeDocument/2006/relationships/slide" Target="slides/slide14.xml"/><Relationship Id="rId13" Type="http://schemas.openxmlformats.org/officeDocument/2006/relationships/slide" Target="slides/slide15.xml"/><Relationship Id="rId14" Type="http://schemas.openxmlformats.org/officeDocument/2006/relationships/slide" Target="slides/slide16.xml"/><Relationship Id="rId15" Type="http://schemas.openxmlformats.org/officeDocument/2006/relationships/slide" Target="slides/slide17.xml"/><Relationship Id="rId16" Type="http://schemas.openxmlformats.org/officeDocument/2006/relationships/slide" Target="slides/slide18.xml"/><Relationship Id="rId17" Type="http://schemas.openxmlformats.org/officeDocument/2006/relationships/slide" Target="slides/slide19.xml"/><Relationship Id="rId18" Type="http://schemas.openxmlformats.org/officeDocument/2006/relationships/slide" Target="slides/slide20.xml"/><Relationship Id="rId1" Type="http://schemas.openxmlformats.org/officeDocument/2006/relationships/slide" Target="slides/slide1.xml"/><Relationship Id="rId2" Type="http://schemas.openxmlformats.org/officeDocument/2006/relationships/slide" Target="slides/slide3.xml"/><Relationship Id="rId3" Type="http://schemas.openxmlformats.org/officeDocument/2006/relationships/slide" Target="slides/slide4.xml"/><Relationship Id="rId4" Type="http://schemas.openxmlformats.org/officeDocument/2006/relationships/slide" Target="slides/slide6.xml"/><Relationship Id="rId5" Type="http://schemas.openxmlformats.org/officeDocument/2006/relationships/slide" Target="slides/slide7.xml"/><Relationship Id="rId6" Type="http://schemas.openxmlformats.org/officeDocument/2006/relationships/slide" Target="slides/slide8.xml"/><Relationship Id="rId7" Type="http://schemas.openxmlformats.org/officeDocument/2006/relationships/slide" Target="slides/slide9.xml"/><Relationship Id="rId8" Type="http://schemas.openxmlformats.org/officeDocument/2006/relationships/slide" Target="slides/slide10.xml"/><Relationship Id="rId9" Type="http://schemas.openxmlformats.org/officeDocument/2006/relationships/slide" Target="slides/slide11.xml"/><Relationship Id="rId10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9AABD0E-3101-4564-9EFF-B3BBF32EA978}" type="datetimeFigureOut">
              <a:rPr lang="de-DE" smtClean="0"/>
              <a:pPr/>
              <a:t>22.10.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EA06E4F-8004-4186-852A-627D056050B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011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tags" Target="../tags/tag2.xml"/><Relationship Id="rId2" Type="http://schemas.openxmlformats.org/officeDocument/2006/relationships/tags" Target="../tags/tag3.xml"/><Relationship Id="rId3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4.svg"/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4.svg"/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xmlns="" id="{0EE4EC5F-563F-40D7-BF90-104230A53F2C}"/>
              </a:ext>
            </a:extLst>
          </p:cNvPr>
          <p:cNvSpPr>
            <a:spLocks noGrp="1" noMove="1" noResize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1" y="0"/>
            <a:ext cx="12192000" cy="6858000"/>
          </a:xfrm>
          <a:solidFill>
            <a:schemeClr val="accent3"/>
          </a:solidFill>
        </p:spPr>
        <p:txBody>
          <a:bodyPr anchor="ctr"/>
          <a:lstStyle>
            <a:lvl1pPr algn="l">
              <a:defRPr/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xmlns="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2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xmlns="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7844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xmlns="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xmlns="" id="{3098D400-4FAC-4905-8C59-0E75C77468D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530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xmlns="" id="{B27D7517-1F80-4410-A024-467AAECFD14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1866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xmlns="" id="{BBA34017-76D9-4ACE-A80A-C4B588141EC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89202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xmlns="" id="{E1255E67-0CE1-4D27-BC06-DE752AE0041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519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20E3030E-913B-4F84-A866-3D4050755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1" y="1674000"/>
            <a:ext cx="5196001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01D75CB9-FB12-4938-AECC-FDD65377DB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7800" y="1674000"/>
            <a:ext cx="5194800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xmlns="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xmlns="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xmlns="" id="{7E19CF50-D445-433B-8DB3-6D9D2A48B3B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xmlns="" id="{27298EEE-A916-45ED-8E8C-5A99A2CDD1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xmlns="" id="{A2A635F8-28ED-4745-BBF2-D3265A40AF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xmlns="" id="{2FEE80AB-FF50-477F-94E4-815F7D8EF286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99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plus 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xmlns="" id="{4C78BD95-A5F9-4798-A3D3-6E0EC108E17C}"/>
              </a:ext>
            </a:extLst>
          </p:cNvPr>
          <p:cNvSpPr/>
          <p:nvPr userDrawn="1"/>
        </p:nvSpPr>
        <p:spPr>
          <a:xfrm>
            <a:off x="719401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xmlns="" id="{9226B967-CF45-45AF-9D6F-CA94823B3B27}"/>
              </a:ext>
            </a:extLst>
          </p:cNvPr>
          <p:cNvSpPr/>
          <p:nvPr userDrawn="1"/>
        </p:nvSpPr>
        <p:spPr>
          <a:xfrm>
            <a:off x="6277200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xmlns="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xmlns="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3302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0" name="Additionszeichen 9">
            <a:extLst>
              <a:ext uri="{FF2B5EF4-FFF2-40B4-BE49-F238E27FC236}">
                <a16:creationId xmlns:a16="http://schemas.microsoft.com/office/drawing/2014/main" xmlns="" id="{CFE04C63-67E3-4BE5-81AF-4847CD8DBC29}"/>
              </a:ext>
            </a:extLst>
          </p:cNvPr>
          <p:cNvSpPr/>
          <p:nvPr userDrawn="1"/>
        </p:nvSpPr>
        <p:spPr>
          <a:xfrm>
            <a:off x="3131862" y="1725451"/>
            <a:ext cx="371078" cy="371076"/>
          </a:xfrm>
          <a:prstGeom prst="mathPlus">
            <a:avLst>
              <a:gd name="adj1" fmla="val 905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xmlns="" id="{6BDE7D3A-3B28-4B14-9BF1-785A2019FF30}"/>
              </a:ext>
            </a:extLst>
          </p:cNvPr>
          <p:cNvSpPr/>
          <p:nvPr userDrawn="1"/>
        </p:nvSpPr>
        <p:spPr>
          <a:xfrm>
            <a:off x="8741076" y="1892989"/>
            <a:ext cx="26825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3B523A05-811E-4945-9F1C-12DC138DD86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63FED06E-0A66-4F07-9CE4-29F9EC589F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429BF6DF-0067-4F7F-8F10-9523911AC1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xmlns="" id="{EE265618-1F87-4DA1-A332-E47A9EFDCFEC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419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xmlns="" id="{87467D8C-1C63-4813-85D1-3AB8DCF20D0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3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3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xmlns="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51948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xmlns="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xmlns="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32">
            <a:extLst>
              <a:ext uri="{FF2B5EF4-FFF2-40B4-BE49-F238E27FC236}">
                <a16:creationId xmlns:a16="http://schemas.microsoft.com/office/drawing/2014/main" xmlns="" id="{083DABCB-9098-4FFE-9D2A-D32B7B91FE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778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2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2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xmlns="" id="{236D5C00-747E-44BB-AD34-A28F6169D4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7800" y="2213148"/>
            <a:ext cx="5194800" cy="4104853"/>
          </a:xfrm>
          <a:custGeom>
            <a:avLst/>
            <a:gdLst>
              <a:gd name="connsiteX0" fmla="*/ 0 w 5194800"/>
              <a:gd name="connsiteY0" fmla="*/ 0 h 4104853"/>
              <a:gd name="connsiteX1" fmla="*/ 5194800 w 5194800"/>
              <a:gd name="connsiteY1" fmla="*/ 0 h 4104853"/>
              <a:gd name="connsiteX2" fmla="*/ 5194800 w 5194800"/>
              <a:gd name="connsiteY2" fmla="*/ 3787601 h 4104853"/>
              <a:gd name="connsiteX3" fmla="*/ 4687090 w 5194800"/>
              <a:gd name="connsiteY3" fmla="*/ 4104853 h 4104853"/>
              <a:gd name="connsiteX4" fmla="*/ 0 w 51948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104853">
                <a:moveTo>
                  <a:pt x="0" y="0"/>
                </a:moveTo>
                <a:lnTo>
                  <a:pt x="5194800" y="0"/>
                </a:lnTo>
                <a:lnTo>
                  <a:pt x="5194800" y="3787601"/>
                </a:lnTo>
                <a:lnTo>
                  <a:pt x="46870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14612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xmlns="" id="{B0894B22-1FDE-45F2-A56B-B18FD9C66B3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xmlns="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xmlns="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xmlns="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1">
            <a:extLst>
              <a:ext uri="{FF2B5EF4-FFF2-40B4-BE49-F238E27FC236}">
                <a16:creationId xmlns:a16="http://schemas.microsoft.com/office/drawing/2014/main" xmlns="" id="{0CEFB671-3706-4C04-BB20-9103BC8E1A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38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xmlns="" id="{DCA64BCA-A541-4E79-ADD7-A9FFBB926F5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38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xmlns="" id="{95058D37-68E1-4A82-B808-35764CBE5B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28200" y="2213148"/>
            <a:ext cx="3344400" cy="4104853"/>
          </a:xfrm>
          <a:custGeom>
            <a:avLst/>
            <a:gdLst>
              <a:gd name="connsiteX0" fmla="*/ 0 w 3344400"/>
              <a:gd name="connsiteY0" fmla="*/ 0 h 4104853"/>
              <a:gd name="connsiteX1" fmla="*/ 3344400 w 3344400"/>
              <a:gd name="connsiteY1" fmla="*/ 0 h 4104853"/>
              <a:gd name="connsiteX2" fmla="*/ 3344400 w 3344400"/>
              <a:gd name="connsiteY2" fmla="*/ 3787601 h 4104853"/>
              <a:gd name="connsiteX3" fmla="*/ 2836690 w 3344400"/>
              <a:gd name="connsiteY3" fmla="*/ 4104853 h 4104853"/>
              <a:gd name="connsiteX4" fmla="*/ 0 w 3344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44400" h="4104853">
                <a:moveTo>
                  <a:pt x="0" y="0"/>
                </a:moveTo>
                <a:lnTo>
                  <a:pt x="3344400" y="0"/>
                </a:lnTo>
                <a:lnTo>
                  <a:pt x="3344400" y="3787601"/>
                </a:lnTo>
                <a:lnTo>
                  <a:pt x="2836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xmlns="" id="{A8F5B8E2-5AE2-44E5-9AFF-6E7ED94CEB5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282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2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2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594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xmlns="" id="{C31E40C9-C853-4E3D-81EA-DA71294816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xmlns="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xmlns="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xmlns="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>
            <a:extLst>
              <a:ext uri="{FF2B5EF4-FFF2-40B4-BE49-F238E27FC236}">
                <a16:creationId xmlns:a16="http://schemas.microsoft.com/office/drawing/2014/main" xmlns="" id="{7127C8F9-E39C-48E0-B578-007D9E2BD2E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530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xmlns="" id="{305EFEFA-64B4-47B4-B733-1B7CA515EC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xmlns="" id="{70185DFD-9DF1-4A8F-870D-F0572E5D0F8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866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xmlns="" id="{FA45D731-A6C5-431A-A8B1-28864968451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866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xmlns="" id="{72631360-5D42-4685-83FF-AA8BF842A66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202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xmlns="" id="{2F256FFD-2237-4B88-AEEC-8D8B62C897A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20200" y="2213148"/>
            <a:ext cx="2552400" cy="4104853"/>
          </a:xfrm>
          <a:custGeom>
            <a:avLst/>
            <a:gdLst>
              <a:gd name="connsiteX0" fmla="*/ 0 w 2552400"/>
              <a:gd name="connsiteY0" fmla="*/ 0 h 4104853"/>
              <a:gd name="connsiteX1" fmla="*/ 2552400 w 2552400"/>
              <a:gd name="connsiteY1" fmla="*/ 0 h 4104853"/>
              <a:gd name="connsiteX2" fmla="*/ 2552400 w 2552400"/>
              <a:gd name="connsiteY2" fmla="*/ 3787601 h 4104853"/>
              <a:gd name="connsiteX3" fmla="*/ 2044690 w 2552400"/>
              <a:gd name="connsiteY3" fmla="*/ 4104853 h 4104853"/>
              <a:gd name="connsiteX4" fmla="*/ 0 w 2552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400" h="4104853">
                <a:moveTo>
                  <a:pt x="0" y="0"/>
                </a:moveTo>
                <a:lnTo>
                  <a:pt x="2552400" y="0"/>
                </a:lnTo>
                <a:lnTo>
                  <a:pt x="2552400" y="3787601"/>
                </a:lnTo>
                <a:lnTo>
                  <a:pt x="2044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90000" tIns="396000" rIns="90000" bIns="90000">
            <a:noAutofit/>
          </a:bodyPr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86016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6D2F70A4-ADFE-4708-AB33-8886E4CC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8863F26D-D1E9-44DB-B332-96FEC35D8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xmlns="" id="{DE15C926-F79F-46C4-91E5-DDEEE6952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52E96900-E160-4F15-8F4F-93A7E009E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xmlns="" id="{E1ECD767-9C3B-4102-881D-A5FAB539895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721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xmlns="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xmlns="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xmlns="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xmlns="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xmlns="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836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2509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xmlns="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en-US" smtClean="0"/>
              <a:t>Drag picture to placeholder or click icon to add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xmlns="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xmlns="" id="{31D252A2-F584-4876-A9E7-3A56CDE1456F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7127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Netzwerk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xmlns="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xmlns="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xmlns="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5853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xmlns="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en-US" smtClean="0"/>
              <a:t>Drag picture to placeholder or click icon to add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xmlns="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84409322-67A6-4F12-8D72-41A3B5B662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7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xmlns="" id="{942447BE-7F68-43E3-BEF7-C04C0F292080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709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 2/3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3344400" cy="4644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xmlns="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xmlns="" id="{2C391855-DEE4-4776-816F-9FDFE9169B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23800" y="1674000"/>
            <a:ext cx="7048800" cy="4644000"/>
          </a:xfrm>
          <a:custGeom>
            <a:avLst/>
            <a:gdLst>
              <a:gd name="connsiteX0" fmla="*/ 0 w 7048800"/>
              <a:gd name="connsiteY0" fmla="*/ 0 h 4644000"/>
              <a:gd name="connsiteX1" fmla="*/ 7048800 w 7048800"/>
              <a:gd name="connsiteY1" fmla="*/ 0 h 4644000"/>
              <a:gd name="connsiteX2" fmla="*/ 7048800 w 7048800"/>
              <a:gd name="connsiteY2" fmla="*/ 4326749 h 4644000"/>
              <a:gd name="connsiteX3" fmla="*/ 6541092 w 7048800"/>
              <a:gd name="connsiteY3" fmla="*/ 4644000 h 4644000"/>
              <a:gd name="connsiteX4" fmla="*/ 0 w 7048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8800" h="4644000">
                <a:moveTo>
                  <a:pt x="0" y="0"/>
                </a:moveTo>
                <a:lnTo>
                  <a:pt x="7048800" y="0"/>
                </a:lnTo>
                <a:lnTo>
                  <a:pt x="7048800" y="4326749"/>
                </a:lnTo>
                <a:lnTo>
                  <a:pt x="6541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xmlns="" id="{29A14761-D380-48F1-9D44-45AF488797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3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xmlns="" id="{F97DD6B2-6BB6-4B54-8072-153E6ED7B9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859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xmlns="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en-US" smtClean="0"/>
              <a:t>Drag picture to placeholder or click icon to add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xmlns="" id="{A3D5E979-B6F3-499F-86AC-9DA560B943B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8" y="1674000"/>
            <a:ext cx="5196001" cy="4644000"/>
          </a:xfrm>
          <a:solidFill>
            <a:schemeClr val="accent3"/>
          </a:solidFill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xmlns="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D2178660-43D6-417E-A41D-8A651FD3ED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xmlns="" id="{6277E495-745A-4917-9709-76F024A90B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1E2D2E99-9111-4AFA-AFB3-76CD71D81FE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xmlns="" id="{2FC171BC-79AF-42BF-84CB-39D216F6E301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018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xmlns="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107531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icon to add char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xmlns="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xmlns="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5010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xmlns="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icon to add char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xmlns="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xmlns="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iagrammplatzhalter 2">
            <a:extLst>
              <a:ext uri="{FF2B5EF4-FFF2-40B4-BE49-F238E27FC236}">
                <a16:creationId xmlns:a16="http://schemas.microsoft.com/office/drawing/2014/main" xmlns="" id="{40153406-C06B-40E8-99C7-229D0C6B031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75400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icon to add char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330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xmlns="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xmlns="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xmlns="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xmlns="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xmlns="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xmlns="" id="{270BA7FE-E827-4D39-A048-D4CF86BD7DF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765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xmlns="" id="{D99C89F3-D97E-408C-A5DF-94B7F7F3405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199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xmlns="" id="{DDBCAED4-2F76-438B-B283-1C960E7CC97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2765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23151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>
            <a:lvl2pPr marL="216000"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xmlns="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1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xmlns="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xmlns="" id="{F465D2CE-6830-4297-983E-F7B43985B9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en-US" smtClean="0"/>
              <a:t>Drag picture to placeholder or click icon to add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CF1A0135-E140-476E-AC43-792A657BCCE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05C46EB0-769F-4170-83B7-93D805106DF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BD706C54-FF6D-4951-8C8B-40E294A9C4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xmlns="" id="{7DCF9F49-EFAD-4ACD-99F6-79A884BC2C0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ildplatzhalter 11">
            <a:extLst>
              <a:ext uri="{FF2B5EF4-FFF2-40B4-BE49-F238E27FC236}">
                <a16:creationId xmlns:a16="http://schemas.microsoft.com/office/drawing/2014/main" xmlns="" id="{903F8E2B-6617-4DB7-991D-50B6D59596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64902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01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xmlns="" id="{0E52A4B2-180F-4635-9822-27508ECE4C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xmlns="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xmlns="" id="{6113E644-52D1-4A9A-821D-0ECCD9B110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5200" y="1674000"/>
            <a:ext cx="2507400" cy="4644000"/>
          </a:xfrm>
          <a:custGeom>
            <a:avLst/>
            <a:gdLst>
              <a:gd name="connsiteX0" fmla="*/ 0 w 2507400"/>
              <a:gd name="connsiteY0" fmla="*/ 0 h 4644000"/>
              <a:gd name="connsiteX1" fmla="*/ 2507400 w 2507400"/>
              <a:gd name="connsiteY1" fmla="*/ 0 h 4644000"/>
              <a:gd name="connsiteX2" fmla="*/ 2507400 w 2507400"/>
              <a:gd name="connsiteY2" fmla="*/ 4326749 h 4644000"/>
              <a:gd name="connsiteX3" fmla="*/ 1999692 w 2507400"/>
              <a:gd name="connsiteY3" fmla="*/ 4644000 h 4644000"/>
              <a:gd name="connsiteX4" fmla="*/ 0 w 25074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7400" h="4644000">
                <a:moveTo>
                  <a:pt x="0" y="0"/>
                </a:moveTo>
                <a:lnTo>
                  <a:pt x="2507400" y="0"/>
                </a:lnTo>
                <a:lnTo>
                  <a:pt x="2507400" y="4326749"/>
                </a:lnTo>
                <a:lnTo>
                  <a:pt x="19996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xmlns="" id="{EA2C7DF6-8FA2-4912-8FF1-99CC9F4CBE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7800" y="4086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60755965-1525-4E18-8617-459E33E24C0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903B74A0-6721-4460-9913-76B468D904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586D6DB4-5088-4985-8544-351706B141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xmlns="" id="{9EFBBC7C-F6A5-4ED9-9C3D-5FC6ABA5562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324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xmlns="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xmlns="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xmlns="" id="{DBB234F7-230F-4A75-81B8-34F8EDC64F3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xmlns="" id="{9C55D38B-F3F0-43B2-B18E-7740F748B16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652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602165AC-262C-4D41-9BBC-CEF1D222E5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1AC9CED4-1736-4B5F-9946-F16664B3DBC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5743DCAA-570D-4D10-B77D-08C69D75AE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xmlns="" id="{2A81D4EE-867E-46FB-9F0B-6CF938274F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3550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xmlns="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xmlns="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74F5D212-7704-477C-BD10-3A07384061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95554" y="1673999"/>
            <a:ext cx="2760453" cy="3312069"/>
          </a:xfrm>
          <a:solidFill>
            <a:schemeClr val="tx2">
              <a:alpha val="90000"/>
            </a:schemeClr>
          </a:solidFill>
        </p:spPr>
        <p:txBody>
          <a:bodyPr lIns="144000" tIns="144000" rIns="144000" bIns="144000"/>
          <a:lstStyle>
            <a:lvl1pPr>
              <a:defRPr sz="1400">
                <a:solidFill>
                  <a:schemeClr val="bg1"/>
                </a:solidFill>
              </a:defRPr>
            </a:lvl1pPr>
            <a:lvl2pPr marL="180000" indent="-180000"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Clr>
                <a:schemeClr val="bg1"/>
              </a:buClr>
              <a:buNone/>
              <a:defRPr sz="10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xmlns="" id="{1FA84C09-E8D0-422A-8A0E-45EB49C1D259}"/>
              </a:ext>
            </a:extLst>
          </p:cNvPr>
          <p:cNvSpPr>
            <a:spLocks noGrp="1"/>
          </p:cNvSpPr>
          <p:nvPr>
            <p:ph type="subTitle" idx="19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xmlns="" id="{B3FDBBD4-A883-4636-B808-7CFF5AFDF03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846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Dual 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xmlns="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xmlns="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xmlns="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E17BF557-8C51-49A6-9373-E0E39B4EF9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255967" y="592157"/>
            <a:ext cx="1846250" cy="57417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</p:spTree>
    <p:extLst>
      <p:ext uri="{BB962C8B-B14F-4D97-AF65-F5344CB8AC3E}">
        <p14:creationId xmlns:p14="http://schemas.microsoft.com/office/powerpoint/2010/main" val="38575142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xmlns="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xmlns="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xmlns="" id="{58D452D6-202E-455D-8B61-543261859A4B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xmlns="" id="{BD26D293-9DBC-44A3-B743-50F9610A78E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7577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und 1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xmlns="" id="{82923280-06D4-4B6C-8212-53AA236789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9999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xmlns="" id="{6816FC29-1284-4663-9755-B91A86845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6000" y="1673999"/>
            <a:ext cx="5286000" cy="2231289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xmlns="" id="{BF2352AF-07ED-4DD6-AD34-CD15BCEF63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53000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xmlns="" id="{88937A17-6BFE-4447-9A70-9A79325025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9999" y="4085290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xmlns="" id="{1C03AA34-9E4A-4CE3-AC7C-F75EA79E7C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19499" y="4085291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6C2F2BAE-909F-472D-BE4F-96A79DA05A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9000" y="4085291"/>
            <a:ext cx="2552999" cy="2231291"/>
          </a:xfrm>
          <a:custGeom>
            <a:avLst/>
            <a:gdLst>
              <a:gd name="connsiteX0" fmla="*/ 0 w 2552999"/>
              <a:gd name="connsiteY0" fmla="*/ 0 h 2231291"/>
              <a:gd name="connsiteX1" fmla="*/ 2552999 w 2552999"/>
              <a:gd name="connsiteY1" fmla="*/ 0 h 2231291"/>
              <a:gd name="connsiteX2" fmla="*/ 2552999 w 2552999"/>
              <a:gd name="connsiteY2" fmla="*/ 1915834 h 2231291"/>
              <a:gd name="connsiteX3" fmla="*/ 2048161 w 2552999"/>
              <a:gd name="connsiteY3" fmla="*/ 2231291 h 2231291"/>
              <a:gd name="connsiteX4" fmla="*/ 0 w 2552999"/>
              <a:gd name="connsiteY4" fmla="*/ 2231291 h 2231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999" h="2231291">
                <a:moveTo>
                  <a:pt x="0" y="0"/>
                </a:moveTo>
                <a:lnTo>
                  <a:pt x="2552999" y="0"/>
                </a:lnTo>
                <a:lnTo>
                  <a:pt x="2552999" y="1915834"/>
                </a:lnTo>
                <a:lnTo>
                  <a:pt x="2048161" y="2231291"/>
                </a:lnTo>
                <a:lnTo>
                  <a:pt x="0" y="223129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F93ABC32-9FE8-459D-ACCB-102523772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157E0EAD-D6B1-4816-B378-23892E83F82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3DD2D387-3FB6-4B0C-98E8-123EED79A0C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0E2EB323-5D4B-44C9-8093-B68CFD3AF6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xmlns="" id="{2F490B95-624C-4C01-B8CF-324AF2796124}"/>
              </a:ext>
            </a:extLst>
          </p:cNvPr>
          <p:cNvSpPr>
            <a:spLocks noGrp="1"/>
          </p:cNvSpPr>
          <p:nvPr>
            <p:ph type="subTitle" idx="20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xmlns="" id="{D1EA23CB-DE6D-4F22-B14C-D08F0E16F2A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083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xmlns="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xmlns="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xmlns="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xmlns="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xmlns="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99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xmlns="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532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xmlns="" id="{7FD20DB8-649F-4F75-BDA2-47C449040C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65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xmlns="" id="{22AE0353-0383-4E9B-84C9-6E8C1C24B1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19899" y="4086000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5 h 2232000"/>
              <a:gd name="connsiteX3" fmla="*/ 2044993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5"/>
                </a:lnTo>
                <a:lnTo>
                  <a:pt x="2044993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xmlns="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xmlns="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32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xmlns="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xmlns="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198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A44C7506-1301-49C0-9C41-04D95085C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A756F48A-94B2-4E68-8433-3D86488F261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xmlns="" id="{EAB230BD-CD3E-4D54-BA85-1FA6F5CCC1E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17105B9E-F57E-42DF-A0F2-61A5FEC545C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xmlns="" id="{CD1921EF-845A-4B83-94D5-07A0CE8FDCE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xmlns="" id="{DCA848E7-92BD-42A2-8DB5-48C272EDDD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607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xmlns="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xmlns="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xmlns="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xmlns="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xmlns="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9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xmlns="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532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xmlns="" id="{FF9C62C6-AB76-491F-A58B-062EF89911A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65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xmlns="" id="{40064942-68BC-4E81-8583-6A45809713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19899" y="4085999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6 h 2232000"/>
              <a:gd name="connsiteX3" fmla="*/ 2044994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6"/>
                </a:lnTo>
                <a:lnTo>
                  <a:pt x="2044994" y="2232000"/>
                </a:lnTo>
                <a:lnTo>
                  <a:pt x="0" y="2232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xmlns="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xmlns="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99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xmlns="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xmlns="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865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86214A44-AF01-4C18-A48A-D60FB248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8ADBD298-EEC0-4FCE-AD3E-E0A71133EC0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xmlns="" id="{2531DBC6-4D2A-496E-902B-EFD874699C5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03EB8BD6-E622-4B45-A236-19BF5A5D181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xmlns="" id="{0863C9F9-60AE-4E82-86B7-ECB092C2DC9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xmlns="" id="{1D178B3D-67C8-474D-B36E-39BB736852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90050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s unten Bild">
            <a:extLst>
              <a:ext uri="{FF2B5EF4-FFF2-40B4-BE49-F238E27FC236}">
                <a16:creationId xmlns:a16="http://schemas.microsoft.com/office/drawing/2014/main" xmlns="" id="{CD5FA5D3-D717-492A-A9A5-AAD003D3C5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18903" y="2347394"/>
            <a:ext cx="6354297" cy="3970606"/>
          </a:xfrm>
          <a:custGeom>
            <a:avLst/>
            <a:gdLst>
              <a:gd name="connsiteX0" fmla="*/ 6354297 w 6354297"/>
              <a:gd name="connsiteY0" fmla="*/ 0 h 3970606"/>
              <a:gd name="connsiteX1" fmla="*/ 6354297 w 6354297"/>
              <a:gd name="connsiteY1" fmla="*/ 3652981 h 3970606"/>
              <a:gd name="connsiteX2" fmla="*/ 5845990 w 6354297"/>
              <a:gd name="connsiteY2" fmla="*/ 3970606 h 3970606"/>
              <a:gd name="connsiteX3" fmla="*/ 0 w 6354297"/>
              <a:gd name="connsiteY3" fmla="*/ 3970606 h 3970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54297" h="3970606">
                <a:moveTo>
                  <a:pt x="6354297" y="0"/>
                </a:moveTo>
                <a:lnTo>
                  <a:pt x="6354297" y="3652981"/>
                </a:lnTo>
                <a:lnTo>
                  <a:pt x="5845990" y="3970606"/>
                </a:lnTo>
                <a:lnTo>
                  <a:pt x="0" y="397060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r"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de-DE"/>
          </a:p>
        </p:txBody>
      </p:sp>
      <p:sp>
        <p:nvSpPr>
          <p:cNvPr id="30" name="rechts oben Bild">
            <a:extLst>
              <a:ext uri="{FF2B5EF4-FFF2-40B4-BE49-F238E27FC236}">
                <a16:creationId xmlns:a16="http://schemas.microsoft.com/office/drawing/2014/main" xmlns="" id="{6DFA7518-1C80-4796-BE44-D8184948C5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55202" y="1674000"/>
            <a:ext cx="4117998" cy="2182262"/>
          </a:xfrm>
          <a:custGeom>
            <a:avLst/>
            <a:gdLst>
              <a:gd name="connsiteX0" fmla="*/ 0 w 4117998"/>
              <a:gd name="connsiteY0" fmla="*/ 0 h 2182262"/>
              <a:gd name="connsiteX1" fmla="*/ 4117998 w 4117998"/>
              <a:gd name="connsiteY1" fmla="*/ 0 h 2182262"/>
              <a:gd name="connsiteX2" fmla="*/ 4117998 w 4117998"/>
              <a:gd name="connsiteY2" fmla="*/ 461141 h 2182262"/>
              <a:gd name="connsiteX3" fmla="*/ 1363628 w 4117998"/>
              <a:gd name="connsiteY3" fmla="*/ 2182262 h 218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17998" h="2182262">
                <a:moveTo>
                  <a:pt x="0" y="0"/>
                </a:moveTo>
                <a:lnTo>
                  <a:pt x="4117998" y="0"/>
                </a:lnTo>
                <a:lnTo>
                  <a:pt x="4117998" y="461141"/>
                </a:lnTo>
                <a:lnTo>
                  <a:pt x="1363628" y="218226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de-DE"/>
          </a:p>
        </p:txBody>
      </p:sp>
      <p:sp>
        <p:nvSpPr>
          <p:cNvPr id="32" name="links großes Bild">
            <a:extLst>
              <a:ext uri="{FF2B5EF4-FFF2-40B4-BE49-F238E27FC236}">
                <a16:creationId xmlns:a16="http://schemas.microsoft.com/office/drawing/2014/main" xmlns="" id="{3250A4B0-2BD5-4E55-807B-8FC0F34662A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000" y="1674000"/>
            <a:ext cx="7846181" cy="4644000"/>
          </a:xfrm>
          <a:custGeom>
            <a:avLst/>
            <a:gdLst>
              <a:gd name="connsiteX0" fmla="*/ 0 w 7846181"/>
              <a:gd name="connsiteY0" fmla="*/ 0 h 4644000"/>
              <a:gd name="connsiteX1" fmla="*/ 6422949 w 7846181"/>
              <a:gd name="connsiteY1" fmla="*/ 0 h 4644000"/>
              <a:gd name="connsiteX2" fmla="*/ 7846181 w 7846181"/>
              <a:gd name="connsiteY2" fmla="*/ 2277649 h 4644000"/>
              <a:gd name="connsiteX3" fmla="*/ 4059228 w 7846181"/>
              <a:gd name="connsiteY3" fmla="*/ 4644000 h 4644000"/>
              <a:gd name="connsiteX4" fmla="*/ 0 w 7846181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6181" h="4644000">
                <a:moveTo>
                  <a:pt x="0" y="0"/>
                </a:moveTo>
                <a:lnTo>
                  <a:pt x="6422949" y="0"/>
                </a:lnTo>
                <a:lnTo>
                  <a:pt x="7846181" y="2277649"/>
                </a:lnTo>
                <a:lnTo>
                  <a:pt x="4059228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de-DE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xmlns="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2E826DC0-7673-4091-B8DF-1F0BF64D563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xmlns="" id="{6667E07C-4EF5-43E9-9B7B-40CF109326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2B583426-CEAE-4105-B68D-3BC46AA145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xmlns="" id="{F1B9E229-2EFA-41C6-8438-B43B0B52060A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91694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xmlns="" id="{4CD9A9D8-D8C6-4003-B9E8-BD62D25DD5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2000 w 12192000"/>
              <a:gd name="connsiteY3" fmla="*/ 6542543 h 6858000"/>
              <a:gd name="connsiteX4" fmla="*/ 11687162 w 12192000"/>
              <a:gd name="connsiteY4" fmla="*/ 6858000 h 6858000"/>
              <a:gd name="connsiteX5" fmla="*/ 11350923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2000" y="6542543"/>
                </a:lnTo>
                <a:lnTo>
                  <a:pt x="11687162" y="6858000"/>
                </a:lnTo>
                <a:lnTo>
                  <a:pt x="1135092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7460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xmlns="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AE41C75F-ABCF-4120-9997-79E41E476C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72138" y="3635125"/>
            <a:ext cx="3700462" cy="2682875"/>
          </a:xfrm>
          <a:custGeom>
            <a:avLst/>
            <a:gdLst>
              <a:gd name="connsiteX0" fmla="*/ 0 w 3700462"/>
              <a:gd name="connsiteY0" fmla="*/ 0 h 2682875"/>
              <a:gd name="connsiteX1" fmla="*/ 3700462 w 3700462"/>
              <a:gd name="connsiteY1" fmla="*/ 0 h 2682875"/>
              <a:gd name="connsiteX2" fmla="*/ 3700462 w 3700462"/>
              <a:gd name="connsiteY2" fmla="*/ 2365624 h 2682875"/>
              <a:gd name="connsiteX3" fmla="*/ 3192754 w 3700462"/>
              <a:gd name="connsiteY3" fmla="*/ 2682875 h 2682875"/>
              <a:gd name="connsiteX4" fmla="*/ 0 w 3700462"/>
              <a:gd name="connsiteY4" fmla="*/ 2682875 h 268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0462" h="2682875">
                <a:moveTo>
                  <a:pt x="0" y="0"/>
                </a:moveTo>
                <a:lnTo>
                  <a:pt x="3700462" y="0"/>
                </a:lnTo>
                <a:lnTo>
                  <a:pt x="3700462" y="2365624"/>
                </a:lnTo>
                <a:lnTo>
                  <a:pt x="3192754" y="2682875"/>
                </a:lnTo>
                <a:lnTo>
                  <a:pt x="0" y="2682875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144000" tIns="216000" rIns="144000" b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97497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Zitat farbig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xmlns="" id="{8B88B8D8-3758-4D29-BFC4-10E8CA86532D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1999 w 12192000"/>
              <a:gd name="connsiteY3" fmla="*/ 6016924 h 6858000"/>
              <a:gd name="connsiteX4" fmla="*/ 12191999 w 12192000"/>
              <a:gd name="connsiteY4" fmla="*/ 6542543 h 6858000"/>
              <a:gd name="connsiteX5" fmla="*/ 11687161 w 12192000"/>
              <a:gd name="connsiteY5" fmla="*/ 6858000 h 6858000"/>
              <a:gd name="connsiteX6" fmla="*/ 11350922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1999" y="6016924"/>
                </a:lnTo>
                <a:lnTo>
                  <a:pt x="12191999" y="6542543"/>
                </a:lnTo>
                <a:lnTo>
                  <a:pt x="11687161" y="6858000"/>
                </a:lnTo>
                <a:lnTo>
                  <a:pt x="1135092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C59D7FE2-23D0-4E6B-BBBD-6ED33EF01A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674688"/>
            <a:ext cx="7094537" cy="5508625"/>
          </a:xfrm>
        </p:spPr>
        <p:txBody>
          <a:bodyPr/>
          <a:lstStyle>
            <a:lvl1pPr>
              <a:defRPr sz="45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98422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xmlns="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363456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F7038655-7059-4575-A4F1-5B3CA3E24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60524" y="1854748"/>
            <a:ext cx="3531476" cy="3090041"/>
          </a:xfrm>
          <a:custGeom>
            <a:avLst/>
            <a:gdLst>
              <a:gd name="connsiteX0" fmla="*/ 0 w 3531476"/>
              <a:gd name="connsiteY0" fmla="*/ 0 h 3090041"/>
              <a:gd name="connsiteX1" fmla="*/ 3531476 w 3531476"/>
              <a:gd name="connsiteY1" fmla="*/ 0 h 3090041"/>
              <a:gd name="connsiteX2" fmla="*/ 3531476 w 3531476"/>
              <a:gd name="connsiteY2" fmla="*/ 2779106 h 3090041"/>
              <a:gd name="connsiteX3" fmla="*/ 3033876 w 3531476"/>
              <a:gd name="connsiteY3" fmla="*/ 3090041 h 3090041"/>
              <a:gd name="connsiteX4" fmla="*/ 0 w 3531476"/>
              <a:gd name="connsiteY4" fmla="*/ 3090041 h 309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476" h="3090041">
                <a:moveTo>
                  <a:pt x="0" y="0"/>
                </a:moveTo>
                <a:lnTo>
                  <a:pt x="3531476" y="0"/>
                </a:lnTo>
                <a:lnTo>
                  <a:pt x="3531476" y="2779106"/>
                </a:lnTo>
                <a:lnTo>
                  <a:pt x="3033876" y="3090041"/>
                </a:lnTo>
                <a:lnTo>
                  <a:pt x="0" y="30900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144000" bIns="360000">
            <a:noAutofit/>
          </a:bodyPr>
          <a:lstStyle>
            <a:lvl1pPr>
              <a:defRPr sz="2500" cap="all" baseline="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ED68F79D-CB6A-4403-9205-FF4BE5DB4D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9048" y="1854748"/>
            <a:ext cx="3531476" cy="3090041"/>
          </a:xfrm>
          <a:solidFill>
            <a:schemeClr val="tx2">
              <a:alpha val="50000"/>
            </a:schemeClr>
          </a:solidFill>
        </p:spPr>
        <p:txBody>
          <a:bodyPr lIns="0" tIns="0" rIns="0" bIns="432000" anchor="b"/>
          <a:lstStyle>
            <a:lvl1pPr marL="0" algn="ctr">
              <a:defRPr sz="18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477505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xmlns="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xmlns="" id="{F3A21B8E-DB9A-4C1E-A79D-3A75A7C6832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38850" y="765175"/>
            <a:ext cx="5561013" cy="5324475"/>
          </a:xfrm>
          <a:custGeom>
            <a:avLst/>
            <a:gdLst>
              <a:gd name="connsiteX0" fmla="*/ 1513682 w 5561013"/>
              <a:gd name="connsiteY0" fmla="*/ 758515 h 5324475"/>
              <a:gd name="connsiteX1" fmla="*/ 1056580 w 5561013"/>
              <a:gd name="connsiteY1" fmla="*/ 2662238 h 5324475"/>
              <a:gd name="connsiteX2" fmla="*/ 1513682 w 5561013"/>
              <a:gd name="connsiteY2" fmla="*/ 4565961 h 5324475"/>
              <a:gd name="connsiteX3" fmla="*/ 1970784 w 5561013"/>
              <a:gd name="connsiteY3" fmla="*/ 2662238 h 5324475"/>
              <a:gd name="connsiteX4" fmla="*/ 1513682 w 5561013"/>
              <a:gd name="connsiteY4" fmla="*/ 758515 h 5324475"/>
              <a:gd name="connsiteX5" fmla="*/ 4556698 w 5561013"/>
              <a:gd name="connsiteY5" fmla="*/ 66675 h 5324475"/>
              <a:gd name="connsiteX6" fmla="*/ 5561013 w 5561013"/>
              <a:gd name="connsiteY6" fmla="*/ 66675 h 5324475"/>
              <a:gd name="connsiteX7" fmla="*/ 5561013 w 5561013"/>
              <a:gd name="connsiteY7" fmla="*/ 5257800 h 5324475"/>
              <a:gd name="connsiteX8" fmla="*/ 4429285 w 5561013"/>
              <a:gd name="connsiteY8" fmla="*/ 5257800 h 5324475"/>
              <a:gd name="connsiteX9" fmla="*/ 4429285 w 5561013"/>
              <a:gd name="connsiteY9" fmla="*/ 1264055 h 5324475"/>
              <a:gd name="connsiteX10" fmla="*/ 3544888 w 5561013"/>
              <a:gd name="connsiteY10" fmla="*/ 1844152 h 5324475"/>
              <a:gd name="connsiteX11" fmla="*/ 3544888 w 5561013"/>
              <a:gd name="connsiteY11" fmla="*/ 869886 h 5324475"/>
              <a:gd name="connsiteX12" fmla="*/ 4556698 w 5561013"/>
              <a:gd name="connsiteY12" fmla="*/ 66675 h 5324475"/>
              <a:gd name="connsiteX13" fmla="*/ 1513682 w 5561013"/>
              <a:gd name="connsiteY13" fmla="*/ 0 h 5324475"/>
              <a:gd name="connsiteX14" fmla="*/ 3027363 w 5561013"/>
              <a:gd name="connsiteY14" fmla="*/ 2647365 h 5324475"/>
              <a:gd name="connsiteX15" fmla="*/ 1513682 w 5561013"/>
              <a:gd name="connsiteY15" fmla="*/ 5324475 h 5324475"/>
              <a:gd name="connsiteX16" fmla="*/ 0 w 5561013"/>
              <a:gd name="connsiteY16" fmla="*/ 2647365 h 5324475"/>
              <a:gd name="connsiteX17" fmla="*/ 1513682 w 5561013"/>
              <a:gd name="connsiteY1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561013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556698" y="66675"/>
                </a:moveTo>
                <a:cubicBezTo>
                  <a:pt x="5561013" y="66675"/>
                  <a:pt x="5561013" y="66675"/>
                  <a:pt x="5561013" y="66675"/>
                </a:cubicBezTo>
                <a:cubicBezTo>
                  <a:pt x="5561013" y="5257800"/>
                  <a:pt x="5561013" y="5257800"/>
                  <a:pt x="5561013" y="5257800"/>
                </a:cubicBezTo>
                <a:cubicBezTo>
                  <a:pt x="4429285" y="5257800"/>
                  <a:pt x="4429285" y="5257800"/>
                  <a:pt x="4429285" y="5257800"/>
                </a:cubicBezTo>
                <a:cubicBezTo>
                  <a:pt x="4429285" y="1264055"/>
                  <a:pt x="4429285" y="1264055"/>
                  <a:pt x="4429285" y="1264055"/>
                </a:cubicBezTo>
                <a:cubicBezTo>
                  <a:pt x="4159469" y="1487169"/>
                  <a:pt x="3852178" y="1680535"/>
                  <a:pt x="3544888" y="1844152"/>
                </a:cubicBezTo>
                <a:lnTo>
                  <a:pt x="3544888" y="869886"/>
                </a:lnTo>
                <a:cubicBezTo>
                  <a:pt x="3919632" y="661647"/>
                  <a:pt x="4286882" y="416221"/>
                  <a:pt x="4556698" y="66675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xmlns="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92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555087"/>
            <a:ext cx="3701122" cy="1501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xmlns="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xmlns="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xmlns="" id="{D4E56867-90E5-495D-A049-FF9011ED98AE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86828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xmlns="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xmlns="" id="{6FCFBDDB-1C1B-4C6C-B5A9-DF9D9A5050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0812" y="765175"/>
            <a:ext cx="6369050" cy="5324475"/>
          </a:xfrm>
          <a:custGeom>
            <a:avLst/>
            <a:gdLst>
              <a:gd name="connsiteX0" fmla="*/ 1513681 w 6369050"/>
              <a:gd name="connsiteY0" fmla="*/ 758515 h 5324475"/>
              <a:gd name="connsiteX1" fmla="*/ 1056579 w 6369050"/>
              <a:gd name="connsiteY1" fmla="*/ 2662238 h 5324475"/>
              <a:gd name="connsiteX2" fmla="*/ 1513681 w 6369050"/>
              <a:gd name="connsiteY2" fmla="*/ 4565961 h 5324475"/>
              <a:gd name="connsiteX3" fmla="*/ 1970783 w 6369050"/>
              <a:gd name="connsiteY3" fmla="*/ 2662238 h 5324475"/>
              <a:gd name="connsiteX4" fmla="*/ 1513681 w 6369050"/>
              <a:gd name="connsiteY4" fmla="*/ 758515 h 5324475"/>
              <a:gd name="connsiteX5" fmla="*/ 4788092 w 6369050"/>
              <a:gd name="connsiteY5" fmla="*/ 0 h 5324475"/>
              <a:gd name="connsiteX6" fmla="*/ 6316601 w 6369050"/>
              <a:gd name="connsiteY6" fmla="*/ 1338620 h 5324475"/>
              <a:gd name="connsiteX7" fmla="*/ 4375994 w 6369050"/>
              <a:gd name="connsiteY7" fmla="*/ 4454629 h 5324475"/>
              <a:gd name="connsiteX8" fmla="*/ 6369050 w 6369050"/>
              <a:gd name="connsiteY8" fmla="*/ 4454629 h 5324475"/>
              <a:gd name="connsiteX9" fmla="*/ 6369050 w 6369050"/>
              <a:gd name="connsiteY9" fmla="*/ 5257800 h 5324475"/>
              <a:gd name="connsiteX10" fmla="*/ 3267075 w 6369050"/>
              <a:gd name="connsiteY10" fmla="*/ 5257800 h 5324475"/>
              <a:gd name="connsiteX11" fmla="*/ 3267075 w 6369050"/>
              <a:gd name="connsiteY11" fmla="*/ 4343077 h 5324475"/>
              <a:gd name="connsiteX12" fmla="*/ 5260131 w 6369050"/>
              <a:gd name="connsiteY12" fmla="*/ 1264252 h 5324475"/>
              <a:gd name="connsiteX13" fmla="*/ 4863019 w 6369050"/>
              <a:gd name="connsiteY13" fmla="*/ 758551 h 5324475"/>
              <a:gd name="connsiteX14" fmla="*/ 4405964 w 6369050"/>
              <a:gd name="connsiteY14" fmla="*/ 1502229 h 5324475"/>
              <a:gd name="connsiteX15" fmla="*/ 3349495 w 6369050"/>
              <a:gd name="connsiteY15" fmla="*/ 1502229 h 5324475"/>
              <a:gd name="connsiteX16" fmla="*/ 4788092 w 6369050"/>
              <a:gd name="connsiteY16" fmla="*/ 0 h 5324475"/>
              <a:gd name="connsiteX17" fmla="*/ 1513681 w 6369050"/>
              <a:gd name="connsiteY17" fmla="*/ 0 h 5324475"/>
              <a:gd name="connsiteX18" fmla="*/ 3027363 w 6369050"/>
              <a:gd name="connsiteY18" fmla="*/ 2647365 h 5324475"/>
              <a:gd name="connsiteX19" fmla="*/ 1513681 w 6369050"/>
              <a:gd name="connsiteY19" fmla="*/ 5324475 h 5324475"/>
              <a:gd name="connsiteX20" fmla="*/ 0 w 6369050"/>
              <a:gd name="connsiteY20" fmla="*/ 2647365 h 5324475"/>
              <a:gd name="connsiteX21" fmla="*/ 1513681 w 6369050"/>
              <a:gd name="connsiteY21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369050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90" y="758515"/>
                  <a:pt x="1513681" y="758515"/>
                </a:cubicBezTo>
                <a:close/>
                <a:moveTo>
                  <a:pt x="4788092" y="0"/>
                </a:moveTo>
                <a:cubicBezTo>
                  <a:pt x="5694707" y="0"/>
                  <a:pt x="6316601" y="364402"/>
                  <a:pt x="6316601" y="1338620"/>
                </a:cubicBezTo>
                <a:cubicBezTo>
                  <a:pt x="6316601" y="2506193"/>
                  <a:pt x="4945438" y="3829939"/>
                  <a:pt x="4375994" y="4454629"/>
                </a:cubicBezTo>
                <a:cubicBezTo>
                  <a:pt x="6369050" y="4454629"/>
                  <a:pt x="6369050" y="4454629"/>
                  <a:pt x="6369050" y="4454629"/>
                </a:cubicBezTo>
                <a:cubicBezTo>
                  <a:pt x="6369050" y="5257800"/>
                  <a:pt x="6369050" y="5257800"/>
                  <a:pt x="6369050" y="5257800"/>
                </a:cubicBezTo>
                <a:lnTo>
                  <a:pt x="3267075" y="5257800"/>
                </a:lnTo>
                <a:cubicBezTo>
                  <a:pt x="3267075" y="4343077"/>
                  <a:pt x="3267075" y="4343077"/>
                  <a:pt x="3267075" y="4343077"/>
                </a:cubicBezTo>
                <a:cubicBezTo>
                  <a:pt x="4915467" y="2164102"/>
                  <a:pt x="5260131" y="1911251"/>
                  <a:pt x="5260131" y="1264252"/>
                </a:cubicBezTo>
                <a:cubicBezTo>
                  <a:pt x="5260131" y="1003965"/>
                  <a:pt x="5162726" y="758551"/>
                  <a:pt x="4863019" y="758551"/>
                </a:cubicBezTo>
                <a:cubicBezTo>
                  <a:pt x="4428443" y="758551"/>
                  <a:pt x="4405964" y="1167574"/>
                  <a:pt x="4405964" y="1502229"/>
                </a:cubicBezTo>
                <a:cubicBezTo>
                  <a:pt x="3349495" y="1502229"/>
                  <a:pt x="3349495" y="1502229"/>
                  <a:pt x="3349495" y="1502229"/>
                </a:cubicBezTo>
                <a:cubicBezTo>
                  <a:pt x="3274568" y="535448"/>
                  <a:pt x="3821534" y="0"/>
                  <a:pt x="4788092" y="0"/>
                </a:cubicBezTo>
                <a:close/>
                <a:moveTo>
                  <a:pt x="1513681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xmlns="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884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xmlns="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xmlns="" id="{4A7BACB7-0FFC-41F1-9652-1A1D53E188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5736" y="766763"/>
            <a:ext cx="6340475" cy="5324475"/>
          </a:xfrm>
          <a:custGeom>
            <a:avLst/>
            <a:gdLst>
              <a:gd name="connsiteX0" fmla="*/ 1513682 w 6340475"/>
              <a:gd name="connsiteY0" fmla="*/ 758515 h 5324475"/>
              <a:gd name="connsiteX1" fmla="*/ 1056580 w 6340475"/>
              <a:gd name="connsiteY1" fmla="*/ 2662238 h 5324475"/>
              <a:gd name="connsiteX2" fmla="*/ 1513682 w 6340475"/>
              <a:gd name="connsiteY2" fmla="*/ 4565961 h 5324475"/>
              <a:gd name="connsiteX3" fmla="*/ 1970784 w 6340475"/>
              <a:gd name="connsiteY3" fmla="*/ 2662238 h 5324475"/>
              <a:gd name="connsiteX4" fmla="*/ 1513682 w 6340475"/>
              <a:gd name="connsiteY4" fmla="*/ 758515 h 5324475"/>
              <a:gd name="connsiteX5" fmla="*/ 4826263 w 6340475"/>
              <a:gd name="connsiteY5" fmla="*/ 0 h 5324475"/>
              <a:gd name="connsiteX6" fmla="*/ 6258018 w 6340475"/>
              <a:gd name="connsiteY6" fmla="*/ 1383174 h 5324475"/>
              <a:gd name="connsiteX7" fmla="*/ 5545889 w 6340475"/>
              <a:gd name="connsiteY7" fmla="*/ 2535819 h 5324475"/>
              <a:gd name="connsiteX8" fmla="*/ 5545889 w 6340475"/>
              <a:gd name="connsiteY8" fmla="*/ 2550691 h 5324475"/>
              <a:gd name="connsiteX9" fmla="*/ 6340475 w 6340475"/>
              <a:gd name="connsiteY9" fmla="*/ 3814882 h 5324475"/>
              <a:gd name="connsiteX10" fmla="*/ 4706326 w 6340475"/>
              <a:gd name="connsiteY10" fmla="*/ 5324475 h 5324475"/>
              <a:gd name="connsiteX11" fmla="*/ 3267075 w 6340475"/>
              <a:gd name="connsiteY11" fmla="*/ 3852064 h 5324475"/>
              <a:gd name="connsiteX12" fmla="*/ 4324025 w 6340475"/>
              <a:gd name="connsiteY12" fmla="*/ 3852064 h 5324475"/>
              <a:gd name="connsiteX13" fmla="*/ 4766295 w 6340475"/>
              <a:gd name="connsiteY13" fmla="*/ 4565961 h 5324475"/>
              <a:gd name="connsiteX14" fmla="*/ 5283525 w 6340475"/>
              <a:gd name="connsiteY14" fmla="*/ 3762827 h 5324475"/>
              <a:gd name="connsiteX15" fmla="*/ 4301536 w 6340475"/>
              <a:gd name="connsiteY15" fmla="*/ 2967131 h 5324475"/>
              <a:gd name="connsiteX16" fmla="*/ 4301536 w 6340475"/>
              <a:gd name="connsiteY16" fmla="*/ 2141688 h 5324475"/>
              <a:gd name="connsiteX17" fmla="*/ 5201068 w 6340475"/>
              <a:gd name="connsiteY17" fmla="*/ 1375737 h 5324475"/>
              <a:gd name="connsiteX18" fmla="*/ 4796279 w 6340475"/>
              <a:gd name="connsiteY18" fmla="*/ 758515 h 5324475"/>
              <a:gd name="connsiteX19" fmla="*/ 4383993 w 6340475"/>
              <a:gd name="connsiteY19" fmla="*/ 1360865 h 5324475"/>
              <a:gd name="connsiteX20" fmla="*/ 3327044 w 6340475"/>
              <a:gd name="connsiteY20" fmla="*/ 1360865 h 5324475"/>
              <a:gd name="connsiteX21" fmla="*/ 3686856 w 6340475"/>
              <a:gd name="connsiteY21" fmla="*/ 275148 h 5324475"/>
              <a:gd name="connsiteX22" fmla="*/ 4826263 w 6340475"/>
              <a:gd name="connsiteY22" fmla="*/ 0 h 5324475"/>
              <a:gd name="connsiteX23" fmla="*/ 1513682 w 6340475"/>
              <a:gd name="connsiteY23" fmla="*/ 0 h 5324475"/>
              <a:gd name="connsiteX24" fmla="*/ 3027363 w 6340475"/>
              <a:gd name="connsiteY24" fmla="*/ 2647365 h 5324475"/>
              <a:gd name="connsiteX25" fmla="*/ 1513682 w 6340475"/>
              <a:gd name="connsiteY25" fmla="*/ 5324475 h 5324475"/>
              <a:gd name="connsiteX26" fmla="*/ 0 w 6340475"/>
              <a:gd name="connsiteY26" fmla="*/ 2647365 h 5324475"/>
              <a:gd name="connsiteX27" fmla="*/ 1513682 w 6340475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4047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26263" y="0"/>
                </a:moveTo>
                <a:cubicBezTo>
                  <a:pt x="5800756" y="0"/>
                  <a:pt x="6258018" y="394130"/>
                  <a:pt x="6258018" y="1383174"/>
                </a:cubicBezTo>
                <a:cubicBezTo>
                  <a:pt x="6258018" y="1873977"/>
                  <a:pt x="6115592" y="2454018"/>
                  <a:pt x="5545889" y="2535819"/>
                </a:cubicBezTo>
                <a:cubicBezTo>
                  <a:pt x="5545889" y="2550691"/>
                  <a:pt x="5545889" y="2550691"/>
                  <a:pt x="5545889" y="2550691"/>
                </a:cubicBezTo>
                <a:cubicBezTo>
                  <a:pt x="6228033" y="2677110"/>
                  <a:pt x="6340475" y="3212533"/>
                  <a:pt x="6340475" y="3814882"/>
                </a:cubicBezTo>
                <a:cubicBezTo>
                  <a:pt x="6340475" y="4885727"/>
                  <a:pt x="5763275" y="5324475"/>
                  <a:pt x="4706326" y="5324475"/>
                </a:cubicBezTo>
                <a:cubicBezTo>
                  <a:pt x="3671864" y="5324475"/>
                  <a:pt x="3267075" y="4960091"/>
                  <a:pt x="3267075" y="3852064"/>
                </a:cubicBezTo>
                <a:cubicBezTo>
                  <a:pt x="4324025" y="3852064"/>
                  <a:pt x="4324025" y="3852064"/>
                  <a:pt x="4324025" y="3852064"/>
                </a:cubicBezTo>
                <a:cubicBezTo>
                  <a:pt x="4324025" y="4194140"/>
                  <a:pt x="4309033" y="4565961"/>
                  <a:pt x="4766295" y="4565961"/>
                </a:cubicBezTo>
                <a:cubicBezTo>
                  <a:pt x="5246045" y="4565961"/>
                  <a:pt x="5283525" y="4127212"/>
                  <a:pt x="5283525" y="3762827"/>
                </a:cubicBezTo>
                <a:cubicBezTo>
                  <a:pt x="5283525" y="3011749"/>
                  <a:pt x="5036154" y="2967131"/>
                  <a:pt x="4301536" y="2967131"/>
                </a:cubicBezTo>
                <a:cubicBezTo>
                  <a:pt x="4301536" y="2141688"/>
                  <a:pt x="4301536" y="2141688"/>
                  <a:pt x="4301536" y="2141688"/>
                </a:cubicBezTo>
                <a:cubicBezTo>
                  <a:pt x="4991177" y="2171434"/>
                  <a:pt x="5201068" y="2097070"/>
                  <a:pt x="5201068" y="1375737"/>
                </a:cubicBezTo>
                <a:cubicBezTo>
                  <a:pt x="5201068" y="1093153"/>
                  <a:pt x="5156092" y="758515"/>
                  <a:pt x="4796279" y="758515"/>
                </a:cubicBezTo>
                <a:cubicBezTo>
                  <a:pt x="4413978" y="758515"/>
                  <a:pt x="4383993" y="1063408"/>
                  <a:pt x="4383993" y="1360865"/>
                </a:cubicBezTo>
                <a:lnTo>
                  <a:pt x="3327044" y="1360865"/>
                </a:lnTo>
                <a:cubicBezTo>
                  <a:pt x="3327044" y="825443"/>
                  <a:pt x="3446981" y="483367"/>
                  <a:pt x="3686856" y="275148"/>
                </a:cubicBezTo>
                <a:cubicBezTo>
                  <a:pt x="3926732" y="74364"/>
                  <a:pt x="4301536" y="0"/>
                  <a:pt x="4826263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xmlns="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27907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xmlns="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xmlns="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utoShape 8">
            <a:extLst>
              <a:ext uri="{FF2B5EF4-FFF2-40B4-BE49-F238E27FC236}">
                <a16:creationId xmlns:a16="http://schemas.microsoft.com/office/drawing/2014/main" xmlns="" id="{CC3A3E53-F4B8-4831-8E8A-2BCF39C93BF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65763" y="768350"/>
            <a:ext cx="6396037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xmlns="" id="{7686F10E-6BEB-4F49-9079-2FC10BB83F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2589" y="765175"/>
            <a:ext cx="6402387" cy="5324475"/>
          </a:xfrm>
          <a:custGeom>
            <a:avLst/>
            <a:gdLst>
              <a:gd name="connsiteX0" fmla="*/ 5102190 w 6402387"/>
              <a:gd name="connsiteY0" fmla="*/ 798690 h 5324475"/>
              <a:gd name="connsiteX1" fmla="*/ 4150460 w 6402387"/>
              <a:gd name="connsiteY1" fmla="*/ 3267821 h 5324475"/>
              <a:gd name="connsiteX2" fmla="*/ 4648806 w 6402387"/>
              <a:gd name="connsiteY2" fmla="*/ 3267821 h 5324475"/>
              <a:gd name="connsiteX3" fmla="*/ 5049732 w 6402387"/>
              <a:gd name="connsiteY3" fmla="*/ 3267821 h 5324475"/>
              <a:gd name="connsiteX4" fmla="*/ 5117177 w 6402387"/>
              <a:gd name="connsiteY4" fmla="*/ 798690 h 5324475"/>
              <a:gd name="connsiteX5" fmla="*/ 5102190 w 6402387"/>
              <a:gd name="connsiteY5" fmla="*/ 798690 h 5324475"/>
              <a:gd name="connsiteX6" fmla="*/ 1513681 w 6402387"/>
              <a:gd name="connsiteY6" fmla="*/ 758515 h 5324475"/>
              <a:gd name="connsiteX7" fmla="*/ 1056579 w 6402387"/>
              <a:gd name="connsiteY7" fmla="*/ 2662238 h 5324475"/>
              <a:gd name="connsiteX8" fmla="*/ 1513681 w 6402387"/>
              <a:gd name="connsiteY8" fmla="*/ 4565961 h 5324475"/>
              <a:gd name="connsiteX9" fmla="*/ 1970783 w 6402387"/>
              <a:gd name="connsiteY9" fmla="*/ 2662238 h 5324475"/>
              <a:gd name="connsiteX10" fmla="*/ 1513681 w 6402387"/>
              <a:gd name="connsiteY10" fmla="*/ 758515 h 5324475"/>
              <a:gd name="connsiteX11" fmla="*/ 4607590 w 6402387"/>
              <a:gd name="connsiteY11" fmla="*/ 69850 h 5324475"/>
              <a:gd name="connsiteX12" fmla="*/ 5997714 w 6402387"/>
              <a:gd name="connsiteY12" fmla="*/ 69850 h 5324475"/>
              <a:gd name="connsiteX13" fmla="*/ 5997714 w 6402387"/>
              <a:gd name="connsiteY13" fmla="*/ 3267821 h 5324475"/>
              <a:gd name="connsiteX14" fmla="*/ 6402387 w 6402387"/>
              <a:gd name="connsiteY14" fmla="*/ 3267821 h 5324475"/>
              <a:gd name="connsiteX15" fmla="*/ 6402387 w 6402387"/>
              <a:gd name="connsiteY15" fmla="*/ 4071032 h 5324475"/>
              <a:gd name="connsiteX16" fmla="*/ 5997714 w 6402387"/>
              <a:gd name="connsiteY16" fmla="*/ 4071032 h 5324475"/>
              <a:gd name="connsiteX17" fmla="*/ 5997714 w 6402387"/>
              <a:gd name="connsiteY17" fmla="*/ 5260975 h 5324475"/>
              <a:gd name="connsiteX18" fmla="*/ 4963552 w 6402387"/>
              <a:gd name="connsiteY18" fmla="*/ 5260975 h 5324475"/>
              <a:gd name="connsiteX19" fmla="*/ 4963552 w 6402387"/>
              <a:gd name="connsiteY19" fmla="*/ 4071032 h 5324475"/>
              <a:gd name="connsiteX20" fmla="*/ 4648806 w 6402387"/>
              <a:gd name="connsiteY20" fmla="*/ 4071032 h 5324475"/>
              <a:gd name="connsiteX21" fmla="*/ 3344862 w 6402387"/>
              <a:gd name="connsiteY21" fmla="*/ 4071032 h 5324475"/>
              <a:gd name="connsiteX22" fmla="*/ 3344862 w 6402387"/>
              <a:gd name="connsiteY22" fmla="*/ 3026114 h 5324475"/>
              <a:gd name="connsiteX23" fmla="*/ 4607590 w 6402387"/>
              <a:gd name="connsiteY23" fmla="*/ 69850 h 5324475"/>
              <a:gd name="connsiteX24" fmla="*/ 1513681 w 6402387"/>
              <a:gd name="connsiteY24" fmla="*/ 0 h 5324475"/>
              <a:gd name="connsiteX25" fmla="*/ 3027362 w 6402387"/>
              <a:gd name="connsiteY25" fmla="*/ 2647365 h 5324475"/>
              <a:gd name="connsiteX26" fmla="*/ 1513681 w 6402387"/>
              <a:gd name="connsiteY26" fmla="*/ 5324475 h 5324475"/>
              <a:gd name="connsiteX27" fmla="*/ 0 w 6402387"/>
              <a:gd name="connsiteY27" fmla="*/ 2647365 h 5324475"/>
              <a:gd name="connsiteX28" fmla="*/ 1513681 w 6402387"/>
              <a:gd name="connsiteY28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402387" h="5324475">
                <a:moveTo>
                  <a:pt x="5102190" y="798690"/>
                </a:moveTo>
                <a:cubicBezTo>
                  <a:pt x="5102190" y="798690"/>
                  <a:pt x="5102190" y="798690"/>
                  <a:pt x="4150460" y="3267821"/>
                </a:cubicBezTo>
                <a:cubicBezTo>
                  <a:pt x="4150460" y="3267821"/>
                  <a:pt x="4150460" y="3267821"/>
                  <a:pt x="4648806" y="3267821"/>
                </a:cubicBezTo>
                <a:cubicBezTo>
                  <a:pt x="4648806" y="3267821"/>
                  <a:pt x="4648806" y="3267821"/>
                  <a:pt x="5049732" y="3267821"/>
                </a:cubicBezTo>
                <a:cubicBezTo>
                  <a:pt x="5049732" y="3267821"/>
                  <a:pt x="5049732" y="3267821"/>
                  <a:pt x="5117177" y="798690"/>
                </a:cubicBezTo>
                <a:cubicBezTo>
                  <a:pt x="5117177" y="798690"/>
                  <a:pt x="5117177" y="798690"/>
                  <a:pt x="5102190" y="798690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607590" y="69850"/>
                </a:moveTo>
                <a:cubicBezTo>
                  <a:pt x="4607590" y="69850"/>
                  <a:pt x="4607590" y="69850"/>
                  <a:pt x="5997714" y="69850"/>
                </a:cubicBezTo>
                <a:cubicBezTo>
                  <a:pt x="5997714" y="69850"/>
                  <a:pt x="5997714" y="69850"/>
                  <a:pt x="5997714" y="3267821"/>
                </a:cubicBezTo>
                <a:lnTo>
                  <a:pt x="6402387" y="3267821"/>
                </a:lnTo>
                <a:cubicBezTo>
                  <a:pt x="6402387" y="3267821"/>
                  <a:pt x="6402387" y="3267821"/>
                  <a:pt x="6402387" y="4071032"/>
                </a:cubicBezTo>
                <a:cubicBezTo>
                  <a:pt x="6402387" y="4071032"/>
                  <a:pt x="6402387" y="4071032"/>
                  <a:pt x="5997714" y="4071032"/>
                </a:cubicBezTo>
                <a:cubicBezTo>
                  <a:pt x="5997714" y="4071032"/>
                  <a:pt x="5997714" y="4071032"/>
                  <a:pt x="5997714" y="5260975"/>
                </a:cubicBezTo>
                <a:cubicBezTo>
                  <a:pt x="5997714" y="5260975"/>
                  <a:pt x="5997714" y="5260975"/>
                  <a:pt x="4963552" y="5260975"/>
                </a:cubicBezTo>
                <a:cubicBezTo>
                  <a:pt x="4963552" y="5260975"/>
                  <a:pt x="4963552" y="5260975"/>
                  <a:pt x="4963552" y="4071032"/>
                </a:cubicBezTo>
                <a:cubicBezTo>
                  <a:pt x="4963552" y="4071032"/>
                  <a:pt x="4963552" y="4071032"/>
                  <a:pt x="4648806" y="4071032"/>
                </a:cubicBezTo>
                <a:cubicBezTo>
                  <a:pt x="4648806" y="4071032"/>
                  <a:pt x="4648806" y="4071032"/>
                  <a:pt x="3344862" y="4071032"/>
                </a:cubicBezTo>
                <a:cubicBezTo>
                  <a:pt x="3344862" y="4071032"/>
                  <a:pt x="3344862" y="4071032"/>
                  <a:pt x="3344862" y="3026114"/>
                </a:cubicBezTo>
                <a:cubicBezTo>
                  <a:pt x="4603843" y="88443"/>
                  <a:pt x="4600096" y="69850"/>
                  <a:pt x="4607590" y="6985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4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82869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xmlns="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xmlns="" id="{0B12AE07-BDEA-42C6-960C-BEF6558549C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9414" y="765176"/>
            <a:ext cx="6376987" cy="5324475"/>
          </a:xfrm>
          <a:custGeom>
            <a:avLst/>
            <a:gdLst>
              <a:gd name="connsiteX0" fmla="*/ 1513681 w 6376987"/>
              <a:gd name="connsiteY0" fmla="*/ 758515 h 5324475"/>
              <a:gd name="connsiteX1" fmla="*/ 1056579 w 6376987"/>
              <a:gd name="connsiteY1" fmla="*/ 2662238 h 5324475"/>
              <a:gd name="connsiteX2" fmla="*/ 1513681 w 6376987"/>
              <a:gd name="connsiteY2" fmla="*/ 4565961 h 5324475"/>
              <a:gd name="connsiteX3" fmla="*/ 1970783 w 6376987"/>
              <a:gd name="connsiteY3" fmla="*/ 2662238 h 5324475"/>
              <a:gd name="connsiteX4" fmla="*/ 1513681 w 6376987"/>
              <a:gd name="connsiteY4" fmla="*/ 758515 h 5324475"/>
              <a:gd name="connsiteX5" fmla="*/ 3453855 w 6376987"/>
              <a:gd name="connsiteY5" fmla="*/ 66675 h 5324475"/>
              <a:gd name="connsiteX6" fmla="*/ 6189607 w 6376987"/>
              <a:gd name="connsiteY6" fmla="*/ 66675 h 5324475"/>
              <a:gd name="connsiteX7" fmla="*/ 6189607 w 6376987"/>
              <a:gd name="connsiteY7" fmla="*/ 869847 h 5324475"/>
              <a:gd name="connsiteX8" fmla="*/ 4488194 w 6376987"/>
              <a:gd name="connsiteY8" fmla="*/ 869847 h 5324475"/>
              <a:gd name="connsiteX9" fmla="*/ 4488194 w 6376987"/>
              <a:gd name="connsiteY9" fmla="*/ 2163846 h 5324475"/>
              <a:gd name="connsiteX10" fmla="*/ 4503184 w 6376987"/>
              <a:gd name="connsiteY10" fmla="*/ 2178719 h 5324475"/>
              <a:gd name="connsiteX11" fmla="*/ 5260201 w 6376987"/>
              <a:gd name="connsiteY11" fmla="*/ 1829191 h 5324475"/>
              <a:gd name="connsiteX12" fmla="*/ 6376987 w 6376987"/>
              <a:gd name="connsiteY12" fmla="*/ 3539649 h 5324475"/>
              <a:gd name="connsiteX13" fmla="*/ 4780507 w 6376987"/>
              <a:gd name="connsiteY13" fmla="*/ 5324475 h 5324475"/>
              <a:gd name="connsiteX14" fmla="*/ 3393893 w 6376987"/>
              <a:gd name="connsiteY14" fmla="*/ 4037913 h 5324475"/>
              <a:gd name="connsiteX15" fmla="*/ 4450718 w 6376987"/>
              <a:gd name="connsiteY15" fmla="*/ 4037913 h 5324475"/>
              <a:gd name="connsiteX16" fmla="*/ 4525670 w 6376987"/>
              <a:gd name="connsiteY16" fmla="*/ 4409752 h 5324475"/>
              <a:gd name="connsiteX17" fmla="*/ 4847964 w 6376987"/>
              <a:gd name="connsiteY17" fmla="*/ 4565924 h 5324475"/>
              <a:gd name="connsiteX18" fmla="*/ 5320162 w 6376987"/>
              <a:gd name="connsiteY18" fmla="*/ 3539649 h 5324475"/>
              <a:gd name="connsiteX19" fmla="*/ 4870449 w 6376987"/>
              <a:gd name="connsiteY19" fmla="*/ 2498501 h 5324475"/>
              <a:gd name="connsiteX20" fmla="*/ 4473203 w 6376987"/>
              <a:gd name="connsiteY20" fmla="*/ 3078569 h 5324475"/>
              <a:gd name="connsiteX21" fmla="*/ 3453855 w 6376987"/>
              <a:gd name="connsiteY21" fmla="*/ 3078569 h 5324475"/>
              <a:gd name="connsiteX22" fmla="*/ 3453855 w 6376987"/>
              <a:gd name="connsiteY22" fmla="*/ 66675 h 5324475"/>
              <a:gd name="connsiteX23" fmla="*/ 1513681 w 6376987"/>
              <a:gd name="connsiteY23" fmla="*/ 0 h 5324475"/>
              <a:gd name="connsiteX24" fmla="*/ 3027362 w 6376987"/>
              <a:gd name="connsiteY24" fmla="*/ 2647365 h 5324475"/>
              <a:gd name="connsiteX25" fmla="*/ 1513681 w 6376987"/>
              <a:gd name="connsiteY25" fmla="*/ 5324475 h 5324475"/>
              <a:gd name="connsiteX26" fmla="*/ 0 w 6376987"/>
              <a:gd name="connsiteY26" fmla="*/ 2647365 h 5324475"/>
              <a:gd name="connsiteX27" fmla="*/ 1513681 w 6376987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76987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3453855" y="66675"/>
                </a:moveTo>
                <a:cubicBezTo>
                  <a:pt x="6189607" y="66675"/>
                  <a:pt x="6189607" y="66675"/>
                  <a:pt x="6189607" y="66675"/>
                </a:cubicBezTo>
                <a:cubicBezTo>
                  <a:pt x="6189607" y="869847"/>
                  <a:pt x="6189607" y="869847"/>
                  <a:pt x="6189607" y="869847"/>
                </a:cubicBezTo>
                <a:cubicBezTo>
                  <a:pt x="4488194" y="869847"/>
                  <a:pt x="4488194" y="869847"/>
                  <a:pt x="4488194" y="869847"/>
                </a:cubicBezTo>
                <a:lnTo>
                  <a:pt x="4488194" y="2163846"/>
                </a:lnTo>
                <a:cubicBezTo>
                  <a:pt x="4503184" y="2178719"/>
                  <a:pt x="4503184" y="2178719"/>
                  <a:pt x="4503184" y="2178719"/>
                </a:cubicBezTo>
                <a:cubicBezTo>
                  <a:pt x="4668079" y="1933306"/>
                  <a:pt x="4952897" y="1829191"/>
                  <a:pt x="5260201" y="1829191"/>
                </a:cubicBezTo>
                <a:cubicBezTo>
                  <a:pt x="6122150" y="1829191"/>
                  <a:pt x="6376987" y="2416696"/>
                  <a:pt x="6376987" y="3539649"/>
                </a:cubicBezTo>
                <a:cubicBezTo>
                  <a:pt x="6376987" y="4930326"/>
                  <a:pt x="5852322" y="5324475"/>
                  <a:pt x="4780507" y="5324475"/>
                </a:cubicBezTo>
                <a:cubicBezTo>
                  <a:pt x="3911062" y="5324475"/>
                  <a:pt x="3363912" y="4967510"/>
                  <a:pt x="3393893" y="4037913"/>
                </a:cubicBezTo>
                <a:cubicBezTo>
                  <a:pt x="4450718" y="4037913"/>
                  <a:pt x="4450718" y="4037913"/>
                  <a:pt x="4450718" y="4037913"/>
                </a:cubicBezTo>
                <a:cubicBezTo>
                  <a:pt x="4450718" y="4179212"/>
                  <a:pt x="4465708" y="4313074"/>
                  <a:pt x="4525670" y="4409752"/>
                </a:cubicBezTo>
                <a:cubicBezTo>
                  <a:pt x="4585631" y="4506430"/>
                  <a:pt x="4683069" y="4565924"/>
                  <a:pt x="4847964" y="4565924"/>
                </a:cubicBezTo>
                <a:cubicBezTo>
                  <a:pt x="5267696" y="4565924"/>
                  <a:pt x="5320162" y="4246143"/>
                  <a:pt x="5320162" y="3539649"/>
                </a:cubicBezTo>
                <a:cubicBezTo>
                  <a:pt x="5320162" y="3204994"/>
                  <a:pt x="5350143" y="2498501"/>
                  <a:pt x="4870449" y="2498501"/>
                </a:cubicBezTo>
                <a:cubicBezTo>
                  <a:pt x="4563146" y="2498501"/>
                  <a:pt x="4473203" y="2840592"/>
                  <a:pt x="4473203" y="3078569"/>
                </a:cubicBezTo>
                <a:cubicBezTo>
                  <a:pt x="3453855" y="3078569"/>
                  <a:pt x="3453855" y="3078569"/>
                  <a:pt x="3453855" y="3078569"/>
                </a:cubicBezTo>
                <a:cubicBezTo>
                  <a:pt x="3453855" y="66675"/>
                  <a:pt x="3453855" y="66675"/>
                  <a:pt x="3453855" y="66675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xmlns="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5446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xmlns="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xmlns="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xmlns="" id="{87FBB8D6-D566-4BAB-A705-2AE0C793D6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4813" y="765176"/>
            <a:ext cx="6351587" cy="5324475"/>
          </a:xfrm>
          <a:custGeom>
            <a:avLst/>
            <a:gdLst>
              <a:gd name="connsiteX0" fmla="*/ 4818659 w 6351587"/>
              <a:gd name="connsiteY0" fmla="*/ 2617619 h 5324475"/>
              <a:gd name="connsiteX1" fmla="*/ 4372648 w 6351587"/>
              <a:gd name="connsiteY1" fmla="*/ 3651281 h 5324475"/>
              <a:gd name="connsiteX2" fmla="*/ 4799919 w 6351587"/>
              <a:gd name="connsiteY2" fmla="*/ 4565961 h 5324475"/>
              <a:gd name="connsiteX3" fmla="*/ 5294653 w 6351587"/>
              <a:gd name="connsiteY3" fmla="*/ 3562044 h 5324475"/>
              <a:gd name="connsiteX4" fmla="*/ 4818659 w 6351587"/>
              <a:gd name="connsiteY4" fmla="*/ 2617619 h 5324475"/>
              <a:gd name="connsiteX5" fmla="*/ 1513681 w 6351587"/>
              <a:gd name="connsiteY5" fmla="*/ 758515 h 5324475"/>
              <a:gd name="connsiteX6" fmla="*/ 1056579 w 6351587"/>
              <a:gd name="connsiteY6" fmla="*/ 2662238 h 5324475"/>
              <a:gd name="connsiteX7" fmla="*/ 1513681 w 6351587"/>
              <a:gd name="connsiteY7" fmla="*/ 4565961 h 5324475"/>
              <a:gd name="connsiteX8" fmla="*/ 1970783 w 6351587"/>
              <a:gd name="connsiteY8" fmla="*/ 2662238 h 5324475"/>
              <a:gd name="connsiteX9" fmla="*/ 1513681 w 6351587"/>
              <a:gd name="connsiteY9" fmla="*/ 758515 h 5324475"/>
              <a:gd name="connsiteX10" fmla="*/ 4923602 w 6351587"/>
              <a:gd name="connsiteY10" fmla="*/ 0 h 5324475"/>
              <a:gd name="connsiteX11" fmla="*/ 6302863 w 6351587"/>
              <a:gd name="connsiteY11" fmla="*/ 1186109 h 5324475"/>
              <a:gd name="connsiteX12" fmla="*/ 5200954 w 6351587"/>
              <a:gd name="connsiteY12" fmla="*/ 1186109 h 5324475"/>
              <a:gd name="connsiteX13" fmla="*/ 5133490 w 6351587"/>
              <a:gd name="connsiteY13" fmla="*/ 855188 h 5324475"/>
              <a:gd name="connsiteX14" fmla="*/ 4833651 w 6351587"/>
              <a:gd name="connsiteY14" fmla="*/ 713896 h 5324475"/>
              <a:gd name="connsiteX15" fmla="*/ 4353908 w 6351587"/>
              <a:gd name="connsiteY15" fmla="*/ 2260671 h 5324475"/>
              <a:gd name="connsiteX16" fmla="*/ 5193458 w 6351587"/>
              <a:gd name="connsiteY16" fmla="*/ 1903723 h 5324475"/>
              <a:gd name="connsiteX17" fmla="*/ 6351587 w 6351587"/>
              <a:gd name="connsiteY17" fmla="*/ 3554608 h 5324475"/>
              <a:gd name="connsiteX18" fmla="*/ 4799919 w 6351587"/>
              <a:gd name="connsiteY18" fmla="*/ 5324475 h 5324475"/>
              <a:gd name="connsiteX19" fmla="*/ 4777431 w 6351587"/>
              <a:gd name="connsiteY19" fmla="*/ 5324475 h 5324475"/>
              <a:gd name="connsiteX20" fmla="*/ 3319462 w 6351587"/>
              <a:gd name="connsiteY20" fmla="*/ 3100986 h 5324475"/>
              <a:gd name="connsiteX21" fmla="*/ 4923602 w 6351587"/>
              <a:gd name="connsiteY21" fmla="*/ 0 h 5324475"/>
              <a:gd name="connsiteX22" fmla="*/ 1513681 w 6351587"/>
              <a:gd name="connsiteY22" fmla="*/ 0 h 5324475"/>
              <a:gd name="connsiteX23" fmla="*/ 3027362 w 6351587"/>
              <a:gd name="connsiteY23" fmla="*/ 2647365 h 5324475"/>
              <a:gd name="connsiteX24" fmla="*/ 1513681 w 6351587"/>
              <a:gd name="connsiteY24" fmla="*/ 5324475 h 5324475"/>
              <a:gd name="connsiteX25" fmla="*/ 0 w 6351587"/>
              <a:gd name="connsiteY25" fmla="*/ 2647365 h 5324475"/>
              <a:gd name="connsiteX26" fmla="*/ 1513681 w 6351587"/>
              <a:gd name="connsiteY2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351587" h="5324475">
                <a:moveTo>
                  <a:pt x="4818659" y="2617619"/>
                </a:moveTo>
                <a:cubicBezTo>
                  <a:pt x="4406379" y="2617619"/>
                  <a:pt x="4372648" y="2996876"/>
                  <a:pt x="4372648" y="3651281"/>
                </a:cubicBezTo>
                <a:cubicBezTo>
                  <a:pt x="4372648" y="3956174"/>
                  <a:pt x="4380143" y="4558524"/>
                  <a:pt x="4799919" y="4565961"/>
                </a:cubicBezTo>
                <a:cubicBezTo>
                  <a:pt x="5159726" y="4565961"/>
                  <a:pt x="5294653" y="4361459"/>
                  <a:pt x="5294653" y="3562044"/>
                </a:cubicBezTo>
                <a:cubicBezTo>
                  <a:pt x="5294653" y="2907639"/>
                  <a:pt x="5215946" y="2617619"/>
                  <a:pt x="4818659" y="2617619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923602" y="0"/>
                </a:moveTo>
                <a:cubicBezTo>
                  <a:pt x="5718177" y="0"/>
                  <a:pt x="6310359" y="338357"/>
                  <a:pt x="6302863" y="1186109"/>
                </a:cubicBezTo>
                <a:cubicBezTo>
                  <a:pt x="6302863" y="1186109"/>
                  <a:pt x="6302863" y="1186109"/>
                  <a:pt x="5200954" y="1186109"/>
                </a:cubicBezTo>
                <a:cubicBezTo>
                  <a:pt x="5208450" y="1052253"/>
                  <a:pt x="5185962" y="936989"/>
                  <a:pt x="5133490" y="855188"/>
                </a:cubicBezTo>
                <a:cubicBezTo>
                  <a:pt x="5073522" y="765951"/>
                  <a:pt x="4983570" y="713896"/>
                  <a:pt x="4833651" y="713896"/>
                </a:cubicBezTo>
                <a:cubicBezTo>
                  <a:pt x="4368900" y="713896"/>
                  <a:pt x="4353908" y="944425"/>
                  <a:pt x="4353908" y="2260671"/>
                </a:cubicBezTo>
                <a:cubicBezTo>
                  <a:pt x="4646251" y="2007833"/>
                  <a:pt x="4803667" y="1903723"/>
                  <a:pt x="5193458" y="1903723"/>
                </a:cubicBezTo>
                <a:cubicBezTo>
                  <a:pt x="6167935" y="1903723"/>
                  <a:pt x="6351587" y="2758911"/>
                  <a:pt x="6351587" y="3554608"/>
                </a:cubicBezTo>
                <a:cubicBezTo>
                  <a:pt x="6351587" y="4621734"/>
                  <a:pt x="5954300" y="5309602"/>
                  <a:pt x="4799919" y="5324475"/>
                </a:cubicBezTo>
                <a:cubicBezTo>
                  <a:pt x="4799919" y="5324475"/>
                  <a:pt x="4784927" y="5324475"/>
                  <a:pt x="4777431" y="5324475"/>
                </a:cubicBezTo>
                <a:cubicBezTo>
                  <a:pt x="3413162" y="5324475"/>
                  <a:pt x="3319462" y="4164394"/>
                  <a:pt x="3319462" y="3100986"/>
                </a:cubicBezTo>
                <a:cubicBezTo>
                  <a:pt x="3319462" y="1033662"/>
                  <a:pt x="3431902" y="0"/>
                  <a:pt x="492360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65997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xmlns="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xmlns="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xmlns="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xmlns="" id="{2556C16B-02E0-499C-B16B-E3D1297229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1638" y="765176"/>
            <a:ext cx="6219825" cy="5324475"/>
          </a:xfrm>
          <a:custGeom>
            <a:avLst/>
            <a:gdLst>
              <a:gd name="connsiteX0" fmla="*/ 1513682 w 6219825"/>
              <a:gd name="connsiteY0" fmla="*/ 758515 h 5324475"/>
              <a:gd name="connsiteX1" fmla="*/ 1056580 w 6219825"/>
              <a:gd name="connsiteY1" fmla="*/ 2662238 h 5324475"/>
              <a:gd name="connsiteX2" fmla="*/ 1513682 w 6219825"/>
              <a:gd name="connsiteY2" fmla="*/ 4565961 h 5324475"/>
              <a:gd name="connsiteX3" fmla="*/ 1970784 w 6219825"/>
              <a:gd name="connsiteY3" fmla="*/ 2662238 h 5324475"/>
              <a:gd name="connsiteX4" fmla="*/ 1513682 w 6219825"/>
              <a:gd name="connsiteY4" fmla="*/ 758515 h 5324475"/>
              <a:gd name="connsiteX5" fmla="*/ 3409950 w 6219825"/>
              <a:gd name="connsiteY5" fmla="*/ 66675 h 5324475"/>
              <a:gd name="connsiteX6" fmla="*/ 6219825 w 6219825"/>
              <a:gd name="connsiteY6" fmla="*/ 66675 h 5324475"/>
              <a:gd name="connsiteX7" fmla="*/ 6219825 w 6219825"/>
              <a:gd name="connsiteY7" fmla="*/ 1055688 h 5324475"/>
              <a:gd name="connsiteX8" fmla="*/ 4945062 w 6219825"/>
              <a:gd name="connsiteY8" fmla="*/ 5257800 h 5324475"/>
              <a:gd name="connsiteX9" fmla="*/ 3768725 w 6219825"/>
              <a:gd name="connsiteY9" fmla="*/ 5257800 h 5324475"/>
              <a:gd name="connsiteX10" fmla="*/ 5200650 w 6219825"/>
              <a:gd name="connsiteY10" fmla="*/ 869950 h 5324475"/>
              <a:gd name="connsiteX11" fmla="*/ 3409950 w 6219825"/>
              <a:gd name="connsiteY11" fmla="*/ 869950 h 5324475"/>
              <a:gd name="connsiteX12" fmla="*/ 1513682 w 6219825"/>
              <a:gd name="connsiteY12" fmla="*/ 0 h 5324475"/>
              <a:gd name="connsiteX13" fmla="*/ 3027363 w 6219825"/>
              <a:gd name="connsiteY13" fmla="*/ 2647365 h 5324475"/>
              <a:gd name="connsiteX14" fmla="*/ 1513682 w 6219825"/>
              <a:gd name="connsiteY14" fmla="*/ 5324475 h 5324475"/>
              <a:gd name="connsiteX15" fmla="*/ 0 w 6219825"/>
              <a:gd name="connsiteY15" fmla="*/ 2647365 h 5324475"/>
              <a:gd name="connsiteX16" fmla="*/ 1513682 w 6219825"/>
              <a:gd name="connsiteY1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21982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3409950" y="66675"/>
                </a:moveTo>
                <a:lnTo>
                  <a:pt x="6219825" y="66675"/>
                </a:lnTo>
                <a:lnTo>
                  <a:pt x="6219825" y="1055688"/>
                </a:lnTo>
                <a:lnTo>
                  <a:pt x="4945062" y="5257800"/>
                </a:lnTo>
                <a:lnTo>
                  <a:pt x="3768725" y="5257800"/>
                </a:lnTo>
                <a:lnTo>
                  <a:pt x="5200650" y="869950"/>
                </a:lnTo>
                <a:lnTo>
                  <a:pt x="3409950" y="869950"/>
                </a:ln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6713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xmlns="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xmlns="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xmlns="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xmlns="" id="{286F1DC7-1C16-4D6A-BED6-DC5C2D85898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10214" y="765175"/>
            <a:ext cx="6351587" cy="5324475"/>
          </a:xfrm>
          <a:custGeom>
            <a:avLst/>
            <a:gdLst>
              <a:gd name="connsiteX0" fmla="*/ 4840861 w 6351587"/>
              <a:gd name="connsiteY0" fmla="*/ 2937385 h 5324475"/>
              <a:gd name="connsiteX1" fmla="*/ 4383519 w 6351587"/>
              <a:gd name="connsiteY1" fmla="*/ 3859501 h 5324475"/>
              <a:gd name="connsiteX2" fmla="*/ 4840861 w 6351587"/>
              <a:gd name="connsiteY2" fmla="*/ 4565961 h 5324475"/>
              <a:gd name="connsiteX3" fmla="*/ 4844609 w 6351587"/>
              <a:gd name="connsiteY3" fmla="*/ 4565961 h 5324475"/>
              <a:gd name="connsiteX4" fmla="*/ 5294453 w 6351587"/>
              <a:gd name="connsiteY4" fmla="*/ 3859501 h 5324475"/>
              <a:gd name="connsiteX5" fmla="*/ 4840861 w 6351587"/>
              <a:gd name="connsiteY5" fmla="*/ 2937385 h 5324475"/>
              <a:gd name="connsiteX6" fmla="*/ 4840861 w 6351587"/>
              <a:gd name="connsiteY6" fmla="*/ 758515 h 5324475"/>
              <a:gd name="connsiteX7" fmla="*/ 4428504 w 6351587"/>
              <a:gd name="connsiteY7" fmla="*/ 1435229 h 5324475"/>
              <a:gd name="connsiteX8" fmla="*/ 4840861 w 6351587"/>
              <a:gd name="connsiteY8" fmla="*/ 2134252 h 5324475"/>
              <a:gd name="connsiteX9" fmla="*/ 4844609 w 6351587"/>
              <a:gd name="connsiteY9" fmla="*/ 2134252 h 5324475"/>
              <a:gd name="connsiteX10" fmla="*/ 5253218 w 6351587"/>
              <a:gd name="connsiteY10" fmla="*/ 1435229 h 5324475"/>
              <a:gd name="connsiteX11" fmla="*/ 4840861 w 6351587"/>
              <a:gd name="connsiteY11" fmla="*/ 758515 h 5324475"/>
              <a:gd name="connsiteX12" fmla="*/ 1513681 w 6351587"/>
              <a:gd name="connsiteY12" fmla="*/ 758515 h 5324475"/>
              <a:gd name="connsiteX13" fmla="*/ 1056579 w 6351587"/>
              <a:gd name="connsiteY13" fmla="*/ 2662238 h 5324475"/>
              <a:gd name="connsiteX14" fmla="*/ 1513681 w 6351587"/>
              <a:gd name="connsiteY14" fmla="*/ 4565961 h 5324475"/>
              <a:gd name="connsiteX15" fmla="*/ 1970783 w 6351587"/>
              <a:gd name="connsiteY15" fmla="*/ 2662238 h 5324475"/>
              <a:gd name="connsiteX16" fmla="*/ 1513681 w 6351587"/>
              <a:gd name="connsiteY16" fmla="*/ 758515 h 5324475"/>
              <a:gd name="connsiteX17" fmla="*/ 4837112 w 6351587"/>
              <a:gd name="connsiteY17" fmla="*/ 0 h 5324475"/>
              <a:gd name="connsiteX18" fmla="*/ 6306603 w 6351587"/>
              <a:gd name="connsiteY18" fmla="*/ 1375737 h 5324475"/>
              <a:gd name="connsiteX19" fmla="*/ 5579355 w 6351587"/>
              <a:gd name="connsiteY19" fmla="*/ 2506073 h 5324475"/>
              <a:gd name="connsiteX20" fmla="*/ 5579355 w 6351587"/>
              <a:gd name="connsiteY20" fmla="*/ 2520946 h 5324475"/>
              <a:gd name="connsiteX21" fmla="*/ 6351587 w 6351587"/>
              <a:gd name="connsiteY21" fmla="*/ 3926429 h 5324475"/>
              <a:gd name="connsiteX22" fmla="*/ 4844609 w 6351587"/>
              <a:gd name="connsiteY22" fmla="*/ 5324475 h 5324475"/>
              <a:gd name="connsiteX23" fmla="*/ 4837112 w 6351587"/>
              <a:gd name="connsiteY23" fmla="*/ 5324475 h 5324475"/>
              <a:gd name="connsiteX24" fmla="*/ 3322637 w 6351587"/>
              <a:gd name="connsiteY24" fmla="*/ 3926429 h 5324475"/>
              <a:gd name="connsiteX25" fmla="*/ 4094869 w 6351587"/>
              <a:gd name="connsiteY25" fmla="*/ 2520946 h 5324475"/>
              <a:gd name="connsiteX26" fmla="*/ 4094869 w 6351587"/>
              <a:gd name="connsiteY26" fmla="*/ 2506073 h 5324475"/>
              <a:gd name="connsiteX27" fmla="*/ 3367621 w 6351587"/>
              <a:gd name="connsiteY27" fmla="*/ 1375737 h 5324475"/>
              <a:gd name="connsiteX28" fmla="*/ 4837112 w 6351587"/>
              <a:gd name="connsiteY28" fmla="*/ 0 h 5324475"/>
              <a:gd name="connsiteX29" fmla="*/ 1513681 w 6351587"/>
              <a:gd name="connsiteY29" fmla="*/ 0 h 5324475"/>
              <a:gd name="connsiteX30" fmla="*/ 3027362 w 6351587"/>
              <a:gd name="connsiteY30" fmla="*/ 2647365 h 5324475"/>
              <a:gd name="connsiteX31" fmla="*/ 1513681 w 6351587"/>
              <a:gd name="connsiteY31" fmla="*/ 5324475 h 5324475"/>
              <a:gd name="connsiteX32" fmla="*/ 0 w 6351587"/>
              <a:gd name="connsiteY32" fmla="*/ 2647365 h 5324475"/>
              <a:gd name="connsiteX33" fmla="*/ 1513681 w 6351587"/>
              <a:gd name="connsiteY33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6351587" h="5324475">
                <a:moveTo>
                  <a:pt x="4840861" y="2937385"/>
                </a:moveTo>
                <a:cubicBezTo>
                  <a:pt x="4368524" y="2937385"/>
                  <a:pt x="4383519" y="3547171"/>
                  <a:pt x="4383519" y="3859501"/>
                </a:cubicBezTo>
                <a:cubicBezTo>
                  <a:pt x="4383519" y="4156958"/>
                  <a:pt x="4436001" y="4565961"/>
                  <a:pt x="4840861" y="4565961"/>
                </a:cubicBezTo>
                <a:cubicBezTo>
                  <a:pt x="4840861" y="4565961"/>
                  <a:pt x="4844609" y="4565961"/>
                  <a:pt x="4844609" y="4565961"/>
                </a:cubicBezTo>
                <a:cubicBezTo>
                  <a:pt x="5249469" y="4562242"/>
                  <a:pt x="5294453" y="4156958"/>
                  <a:pt x="5294453" y="3859501"/>
                </a:cubicBezTo>
                <a:cubicBezTo>
                  <a:pt x="5294453" y="3550890"/>
                  <a:pt x="5309448" y="2944821"/>
                  <a:pt x="4840861" y="2937385"/>
                </a:cubicBezTo>
                <a:close/>
                <a:moveTo>
                  <a:pt x="4840861" y="758515"/>
                </a:moveTo>
                <a:cubicBezTo>
                  <a:pt x="4473488" y="758515"/>
                  <a:pt x="4428504" y="1182390"/>
                  <a:pt x="4428504" y="1435229"/>
                </a:cubicBezTo>
                <a:cubicBezTo>
                  <a:pt x="4428504" y="1702940"/>
                  <a:pt x="4473488" y="2130534"/>
                  <a:pt x="4840861" y="2134252"/>
                </a:cubicBezTo>
                <a:cubicBezTo>
                  <a:pt x="4844609" y="2134252"/>
                  <a:pt x="4840861" y="2134252"/>
                  <a:pt x="4844609" y="2134252"/>
                </a:cubicBezTo>
                <a:cubicBezTo>
                  <a:pt x="5211982" y="2126816"/>
                  <a:pt x="5253218" y="1702940"/>
                  <a:pt x="5253218" y="1435229"/>
                </a:cubicBezTo>
                <a:cubicBezTo>
                  <a:pt x="5253218" y="1182390"/>
                  <a:pt x="5208233" y="758515"/>
                  <a:pt x="4840861" y="758515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837112" y="0"/>
                </a:moveTo>
                <a:cubicBezTo>
                  <a:pt x="5804277" y="0"/>
                  <a:pt x="6306603" y="431312"/>
                  <a:pt x="6306603" y="1375737"/>
                </a:cubicBezTo>
                <a:cubicBezTo>
                  <a:pt x="6306603" y="1926032"/>
                  <a:pt x="6179147" y="2357345"/>
                  <a:pt x="5579355" y="2506073"/>
                </a:cubicBezTo>
                <a:cubicBezTo>
                  <a:pt x="5579355" y="2506073"/>
                  <a:pt x="5579355" y="2506073"/>
                  <a:pt x="5579355" y="2520946"/>
                </a:cubicBezTo>
                <a:cubicBezTo>
                  <a:pt x="6254121" y="2758911"/>
                  <a:pt x="6351587" y="3286897"/>
                  <a:pt x="6351587" y="3926429"/>
                </a:cubicBezTo>
                <a:cubicBezTo>
                  <a:pt x="6351587" y="4900599"/>
                  <a:pt x="5834266" y="5324475"/>
                  <a:pt x="4844609" y="5324475"/>
                </a:cubicBezTo>
                <a:cubicBezTo>
                  <a:pt x="4844609" y="5324475"/>
                  <a:pt x="4840861" y="5324475"/>
                  <a:pt x="4837112" y="5324475"/>
                </a:cubicBezTo>
                <a:cubicBezTo>
                  <a:pt x="3847455" y="5324475"/>
                  <a:pt x="3322637" y="4900599"/>
                  <a:pt x="3322637" y="3926429"/>
                </a:cubicBezTo>
                <a:cubicBezTo>
                  <a:pt x="3322637" y="3286897"/>
                  <a:pt x="3420103" y="2758911"/>
                  <a:pt x="4094869" y="2520946"/>
                </a:cubicBezTo>
                <a:cubicBezTo>
                  <a:pt x="4094869" y="2520946"/>
                  <a:pt x="4094869" y="2520946"/>
                  <a:pt x="4094869" y="2506073"/>
                </a:cubicBezTo>
                <a:cubicBezTo>
                  <a:pt x="3510072" y="2357345"/>
                  <a:pt x="3367621" y="1926032"/>
                  <a:pt x="3367621" y="1375737"/>
                </a:cubicBezTo>
                <a:cubicBezTo>
                  <a:pt x="3367621" y="431312"/>
                  <a:pt x="3869947" y="0"/>
                  <a:pt x="483711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8885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xmlns="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xmlns="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xmlns="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xmlns="" id="{6011AACA-54C2-4EF9-87BC-944999F3039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1326" y="765174"/>
            <a:ext cx="6355205" cy="5327650"/>
          </a:xfrm>
          <a:custGeom>
            <a:avLst/>
            <a:gdLst>
              <a:gd name="connsiteX0" fmla="*/ 1513682 w 6355205"/>
              <a:gd name="connsiteY0" fmla="*/ 758515 h 5327650"/>
              <a:gd name="connsiteX1" fmla="*/ 1056580 w 6355205"/>
              <a:gd name="connsiteY1" fmla="*/ 2662238 h 5327650"/>
              <a:gd name="connsiteX2" fmla="*/ 1513682 w 6355205"/>
              <a:gd name="connsiteY2" fmla="*/ 4565961 h 5327650"/>
              <a:gd name="connsiteX3" fmla="*/ 1970784 w 6355205"/>
              <a:gd name="connsiteY3" fmla="*/ 2662238 h 5327650"/>
              <a:gd name="connsiteX4" fmla="*/ 1513682 w 6355205"/>
              <a:gd name="connsiteY4" fmla="*/ 758515 h 5327650"/>
              <a:gd name="connsiteX5" fmla="*/ 4833586 w 6355205"/>
              <a:gd name="connsiteY5" fmla="*/ 713823 h 5327650"/>
              <a:gd name="connsiteX6" fmla="*/ 4376351 w 6355205"/>
              <a:gd name="connsiteY6" fmla="*/ 1635845 h 5327650"/>
              <a:gd name="connsiteX7" fmla="*/ 4814847 w 6355205"/>
              <a:gd name="connsiteY7" fmla="*/ 2535560 h 5327650"/>
              <a:gd name="connsiteX8" fmla="*/ 4822343 w 6355205"/>
              <a:gd name="connsiteY8" fmla="*/ 2535560 h 5327650"/>
              <a:gd name="connsiteX9" fmla="*/ 5298317 w 6355205"/>
              <a:gd name="connsiteY9" fmla="*/ 1613538 h 5327650"/>
              <a:gd name="connsiteX10" fmla="*/ 4833586 w 6355205"/>
              <a:gd name="connsiteY10" fmla="*/ 713823 h 5327650"/>
              <a:gd name="connsiteX11" fmla="*/ 4811099 w 6355205"/>
              <a:gd name="connsiteY11" fmla="*/ 0 h 5327650"/>
              <a:gd name="connsiteX12" fmla="*/ 6355205 w 6355205"/>
              <a:gd name="connsiteY12" fmla="*/ 2687991 h 5327650"/>
              <a:gd name="connsiteX13" fmla="*/ 4803604 w 6355205"/>
              <a:gd name="connsiteY13" fmla="*/ 5327650 h 5327650"/>
              <a:gd name="connsiteX14" fmla="*/ 3394420 w 6355205"/>
              <a:gd name="connsiteY14" fmla="*/ 4041281 h 5327650"/>
              <a:gd name="connsiteX15" fmla="*/ 4443812 w 6355205"/>
              <a:gd name="connsiteY15" fmla="*/ 4041281 h 5327650"/>
              <a:gd name="connsiteX16" fmla="*/ 4518769 w 6355205"/>
              <a:gd name="connsiteY16" fmla="*/ 4405628 h 5327650"/>
              <a:gd name="connsiteX17" fmla="*/ 4829839 w 6355205"/>
              <a:gd name="connsiteY17" fmla="*/ 4565495 h 5327650"/>
              <a:gd name="connsiteX18" fmla="*/ 5294569 w 6355205"/>
              <a:gd name="connsiteY18" fmla="*/ 2907343 h 5327650"/>
              <a:gd name="connsiteX19" fmla="*/ 4814847 w 6355205"/>
              <a:gd name="connsiteY19" fmla="*/ 3197334 h 5327650"/>
              <a:gd name="connsiteX20" fmla="*/ 4428821 w 6355205"/>
              <a:gd name="connsiteY20" fmla="*/ 3249383 h 5327650"/>
              <a:gd name="connsiteX21" fmla="*/ 3319463 w 6355205"/>
              <a:gd name="connsiteY21" fmla="*/ 1844044 h 5327650"/>
              <a:gd name="connsiteX22" fmla="*/ 4811099 w 6355205"/>
              <a:gd name="connsiteY22" fmla="*/ 0 h 5327650"/>
              <a:gd name="connsiteX23" fmla="*/ 1513682 w 6355205"/>
              <a:gd name="connsiteY23" fmla="*/ 0 h 5327650"/>
              <a:gd name="connsiteX24" fmla="*/ 3027363 w 6355205"/>
              <a:gd name="connsiteY24" fmla="*/ 2647365 h 5327650"/>
              <a:gd name="connsiteX25" fmla="*/ 1513682 w 6355205"/>
              <a:gd name="connsiteY25" fmla="*/ 5324475 h 5327650"/>
              <a:gd name="connsiteX26" fmla="*/ 0 w 6355205"/>
              <a:gd name="connsiteY26" fmla="*/ 2647365 h 5327650"/>
              <a:gd name="connsiteX27" fmla="*/ 1513682 w 6355205"/>
              <a:gd name="connsiteY2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55205" h="5327650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33586" y="713823"/>
                </a:moveTo>
                <a:cubicBezTo>
                  <a:pt x="4376351" y="713823"/>
                  <a:pt x="4376351" y="1316112"/>
                  <a:pt x="4376351" y="1635845"/>
                </a:cubicBezTo>
                <a:cubicBezTo>
                  <a:pt x="4376351" y="1955579"/>
                  <a:pt x="4380099" y="2528124"/>
                  <a:pt x="4814847" y="2535560"/>
                </a:cubicBezTo>
                <a:cubicBezTo>
                  <a:pt x="4814847" y="2535560"/>
                  <a:pt x="4822343" y="2535560"/>
                  <a:pt x="4822343" y="2535560"/>
                </a:cubicBezTo>
                <a:cubicBezTo>
                  <a:pt x="5272083" y="2535560"/>
                  <a:pt x="5298317" y="1933272"/>
                  <a:pt x="5298317" y="1613538"/>
                </a:cubicBezTo>
                <a:cubicBezTo>
                  <a:pt x="5298317" y="1286369"/>
                  <a:pt x="5283326" y="713823"/>
                  <a:pt x="4833586" y="713823"/>
                </a:cubicBezTo>
                <a:close/>
                <a:moveTo>
                  <a:pt x="4811099" y="0"/>
                </a:moveTo>
                <a:cubicBezTo>
                  <a:pt x="6362701" y="0"/>
                  <a:pt x="6355205" y="1230602"/>
                  <a:pt x="6355205" y="2687991"/>
                </a:cubicBezTo>
                <a:cubicBezTo>
                  <a:pt x="6355205" y="3966924"/>
                  <a:pt x="6332718" y="5327650"/>
                  <a:pt x="4803604" y="5327650"/>
                </a:cubicBezTo>
                <a:cubicBezTo>
                  <a:pt x="3896629" y="5327650"/>
                  <a:pt x="3371933" y="5022788"/>
                  <a:pt x="3394420" y="4041281"/>
                </a:cubicBezTo>
                <a:cubicBezTo>
                  <a:pt x="3394420" y="4041281"/>
                  <a:pt x="3394420" y="4041281"/>
                  <a:pt x="4443812" y="4041281"/>
                </a:cubicBezTo>
                <a:cubicBezTo>
                  <a:pt x="4443812" y="4175123"/>
                  <a:pt x="4458803" y="4308965"/>
                  <a:pt x="4518769" y="4405628"/>
                </a:cubicBezTo>
                <a:cubicBezTo>
                  <a:pt x="4578734" y="4502292"/>
                  <a:pt x="4672430" y="4565495"/>
                  <a:pt x="4829839" y="4565495"/>
                </a:cubicBezTo>
                <a:cubicBezTo>
                  <a:pt x="5354535" y="4565495"/>
                  <a:pt x="5294569" y="4141662"/>
                  <a:pt x="5294569" y="2907343"/>
                </a:cubicBezTo>
                <a:cubicBezTo>
                  <a:pt x="5152152" y="3048621"/>
                  <a:pt x="4994743" y="3141566"/>
                  <a:pt x="4814847" y="3197334"/>
                </a:cubicBezTo>
                <a:cubicBezTo>
                  <a:pt x="4694917" y="3234512"/>
                  <a:pt x="4563743" y="3249383"/>
                  <a:pt x="4428821" y="3249383"/>
                </a:cubicBezTo>
                <a:cubicBezTo>
                  <a:pt x="3626785" y="3249383"/>
                  <a:pt x="3319463" y="2535560"/>
                  <a:pt x="3319463" y="1844044"/>
                </a:cubicBezTo>
                <a:cubicBezTo>
                  <a:pt x="3319463" y="825358"/>
                  <a:pt x="3634281" y="0"/>
                  <a:pt x="4811099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70256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xmlns="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xmlns="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xmlns="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xmlns="" id="{532DFA9D-5800-4F7F-924A-442E4B5302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20518" y="765174"/>
            <a:ext cx="5858744" cy="5327650"/>
          </a:xfrm>
          <a:custGeom>
            <a:avLst/>
            <a:gdLst>
              <a:gd name="connsiteX0" fmla="*/ 4345063 w 5858744"/>
              <a:gd name="connsiteY0" fmla="*/ 758967 h 5327650"/>
              <a:gd name="connsiteX1" fmla="*/ 3887961 w 5858744"/>
              <a:gd name="connsiteY1" fmla="*/ 2663825 h 5327650"/>
              <a:gd name="connsiteX2" fmla="*/ 4345063 w 5858744"/>
              <a:gd name="connsiteY2" fmla="*/ 4568683 h 5327650"/>
              <a:gd name="connsiteX3" fmla="*/ 4802164 w 5858744"/>
              <a:gd name="connsiteY3" fmla="*/ 2663825 h 5327650"/>
              <a:gd name="connsiteX4" fmla="*/ 4345063 w 5858744"/>
              <a:gd name="connsiteY4" fmla="*/ 758967 h 5327650"/>
              <a:gd name="connsiteX5" fmla="*/ 1011810 w 5858744"/>
              <a:gd name="connsiteY5" fmla="*/ 82550 h 5327650"/>
              <a:gd name="connsiteX6" fmla="*/ 2016125 w 5858744"/>
              <a:gd name="connsiteY6" fmla="*/ 82550 h 5327650"/>
              <a:gd name="connsiteX7" fmla="*/ 2016125 w 5858744"/>
              <a:gd name="connsiteY7" fmla="*/ 5275263 h 5327650"/>
              <a:gd name="connsiteX8" fmla="*/ 884397 w 5858744"/>
              <a:gd name="connsiteY8" fmla="*/ 5275263 h 5327650"/>
              <a:gd name="connsiteX9" fmla="*/ 884397 w 5858744"/>
              <a:gd name="connsiteY9" fmla="*/ 1280296 h 5327650"/>
              <a:gd name="connsiteX10" fmla="*/ 0 w 5858744"/>
              <a:gd name="connsiteY10" fmla="*/ 1860571 h 5327650"/>
              <a:gd name="connsiteX11" fmla="*/ 0 w 5858744"/>
              <a:gd name="connsiteY11" fmla="*/ 886007 h 5327650"/>
              <a:gd name="connsiteX12" fmla="*/ 1011810 w 5858744"/>
              <a:gd name="connsiteY12" fmla="*/ 82550 h 5327650"/>
              <a:gd name="connsiteX13" fmla="*/ 4345063 w 5858744"/>
              <a:gd name="connsiteY13" fmla="*/ 0 h 5327650"/>
              <a:gd name="connsiteX14" fmla="*/ 5858744 w 5858744"/>
              <a:gd name="connsiteY14" fmla="*/ 2648943 h 5327650"/>
              <a:gd name="connsiteX15" fmla="*/ 4345063 w 5858744"/>
              <a:gd name="connsiteY15" fmla="*/ 5327650 h 5327650"/>
              <a:gd name="connsiteX16" fmla="*/ 2831381 w 5858744"/>
              <a:gd name="connsiteY16" fmla="*/ 2648943 h 5327650"/>
              <a:gd name="connsiteX17" fmla="*/ 4345063 w 5858744"/>
              <a:gd name="connsiteY1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858744" h="5327650">
                <a:moveTo>
                  <a:pt x="4345063" y="758967"/>
                </a:moveTo>
                <a:cubicBezTo>
                  <a:pt x="3895454" y="758967"/>
                  <a:pt x="3887961" y="1064042"/>
                  <a:pt x="3887961" y="2663825"/>
                </a:cubicBezTo>
                <a:cubicBezTo>
                  <a:pt x="3887961" y="4233845"/>
                  <a:pt x="3925428" y="4568683"/>
                  <a:pt x="4345063" y="4568683"/>
                </a:cubicBezTo>
                <a:cubicBezTo>
                  <a:pt x="4764697" y="4568683"/>
                  <a:pt x="4802164" y="4233845"/>
                  <a:pt x="4802164" y="2663825"/>
                </a:cubicBezTo>
                <a:cubicBezTo>
                  <a:pt x="4802164" y="1064042"/>
                  <a:pt x="4794671" y="758967"/>
                  <a:pt x="4345063" y="758967"/>
                </a:cubicBezTo>
                <a:close/>
                <a:moveTo>
                  <a:pt x="1011810" y="82550"/>
                </a:moveTo>
                <a:cubicBezTo>
                  <a:pt x="2016125" y="82550"/>
                  <a:pt x="2016125" y="82550"/>
                  <a:pt x="2016125" y="82550"/>
                </a:cubicBezTo>
                <a:cubicBezTo>
                  <a:pt x="2016125" y="5275263"/>
                  <a:pt x="2016125" y="5275263"/>
                  <a:pt x="2016125" y="5275263"/>
                </a:cubicBezTo>
                <a:cubicBezTo>
                  <a:pt x="884397" y="5275263"/>
                  <a:pt x="884397" y="5275263"/>
                  <a:pt x="884397" y="5275263"/>
                </a:cubicBezTo>
                <a:cubicBezTo>
                  <a:pt x="884397" y="1280296"/>
                  <a:pt x="884397" y="1280296"/>
                  <a:pt x="884397" y="1280296"/>
                </a:cubicBezTo>
                <a:cubicBezTo>
                  <a:pt x="614581" y="1503479"/>
                  <a:pt x="307291" y="1696904"/>
                  <a:pt x="0" y="1860571"/>
                </a:cubicBezTo>
                <a:lnTo>
                  <a:pt x="0" y="886007"/>
                </a:lnTo>
                <a:cubicBezTo>
                  <a:pt x="374745" y="677703"/>
                  <a:pt x="741994" y="432203"/>
                  <a:pt x="1011810" y="82550"/>
                </a:cubicBezTo>
                <a:close/>
                <a:moveTo>
                  <a:pt x="4345063" y="0"/>
                </a:moveTo>
                <a:cubicBezTo>
                  <a:pt x="5633940" y="0"/>
                  <a:pt x="5858744" y="662236"/>
                  <a:pt x="5858744" y="2648943"/>
                </a:cubicBezTo>
                <a:cubicBezTo>
                  <a:pt x="5858744" y="4278490"/>
                  <a:pt x="5753835" y="5327650"/>
                  <a:pt x="4345063" y="5327650"/>
                </a:cubicBezTo>
                <a:cubicBezTo>
                  <a:pt x="2936290" y="5327650"/>
                  <a:pt x="2831381" y="4278490"/>
                  <a:pt x="2831381" y="2648943"/>
                </a:cubicBezTo>
                <a:cubicBezTo>
                  <a:pt x="2831381" y="662236"/>
                  <a:pt x="3056185" y="0"/>
                  <a:pt x="43450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67032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_Dual-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xmlns="" id="{27A0CB72-7552-4FD5-81C9-8126891CC607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329066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xmlns="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xmlns="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en-US" smtClean="0"/>
              <a:t>Drag picture to placeholder or click icon to add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xmlns="" id="{F953590F-B5E8-43B9-9661-84460CE5E8A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803105" y="1920358"/>
            <a:ext cx="3764757" cy="65224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xmlns="" id="{79497B39-64F5-4F0E-830C-E283423727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87935" y="5545383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</p:spTree>
    <p:extLst>
      <p:ext uri="{BB962C8B-B14F-4D97-AF65-F5344CB8AC3E}">
        <p14:creationId xmlns:p14="http://schemas.microsoft.com/office/powerpoint/2010/main" val="3641586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7E4811EB-2863-4359-BDFD-9EDD3692D0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 dirty="0"/>
              <a:t>Agenda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32E2A15C-36F2-4D8B-8A93-D9D64240FD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801" y="167400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xmlns="" id="{247F7E03-1BC0-4352-B5D7-74FD71D1C7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67400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xmlns="" id="{302EB242-6759-421D-A0C7-F4CF101399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801" y="227250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xmlns="" id="{45C34F65-3A66-407A-AC33-9E9AC739BC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27250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xmlns="" id="{71E94EB5-4533-46FD-B546-2C7D91C964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801" y="2871012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xmlns="" id="{54A319A0-A115-4B70-A4D5-8BEBE4B718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8853" y="2871012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xmlns="" id="{A011A145-9E4D-4A7A-BB4B-0532D386D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801" y="3469518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xmlns="" id="{A5CBB88F-7954-4F5B-9A12-2541D2F95E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469518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xmlns="" id="{F35F7BDD-A9F3-4153-B660-5242A2169C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801" y="4068024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xmlns="" id="{FC048C23-9126-42E7-82B5-97EB2F721A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8853" y="4068024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xmlns="" id="{A1B91F1B-2C4C-4212-9298-1121AC51EA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801" y="466653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xmlns="" id="{FF2F1C85-70FA-41E4-AA76-051C378C20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8853" y="466653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xmlns="" id="{FEAF962C-F9F1-4077-883E-342B185C22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801" y="526503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xmlns="" id="{6E1706DB-CE29-4A10-903E-B98EFF5F7D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8853" y="526503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xmlns="" id="{660CFC27-004E-40B1-907C-BD2C10998D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8801" y="5863545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xmlns="" id="{600778BA-EA2B-4461-92EE-2515F92A6CC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8853" y="5863545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xmlns="" id="{0FFFAAF7-A186-463C-8A57-2967A904EC2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xmlns="" id="{438B0277-B24A-455C-B618-B1CC535BB07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xmlns="" id="{394A83BA-0D79-41BA-AB81-54F0ECD7ADE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xmlns="" id="{C33E0BAB-92C8-487C-922B-2967EA55C0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270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xmlns="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xmlns="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xmlns="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xmlns="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xmlns="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4573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121B25B6-EA2C-412E-A643-20DC8008D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7800" y="1674000"/>
            <a:ext cx="5194800" cy="4644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xmlns="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xmlns="" id="{E030A947-F9C9-4338-985F-6640D3DACA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xmlns="" id="{39328F92-46E9-44F4-AACE-AC3B5106AD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3F388D70-D393-490E-823B-019BFCD2A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xmlns="" id="{BEF240D4-D025-4F47-AD9B-871B6AE1E33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110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xmlns="" id="{C1F0A7B3-7902-4E64-A96A-2B8FD953AE8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4243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xmlns="" id="{EB645276-BF98-443B-8257-0168D878217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1287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xmlns="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xmlns="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xmlns="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xmlns="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xmlns="" id="{5FA93747-F558-41F7-A8CE-1CAD320F6A0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427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slideLayout" Target="../slideLayouts/slideLayout46.xml"/><Relationship Id="rId47" Type="http://schemas.openxmlformats.org/officeDocument/2006/relationships/slideLayout" Target="../slideLayouts/slideLayout47.xml"/><Relationship Id="rId48" Type="http://schemas.openxmlformats.org/officeDocument/2006/relationships/slideLayout" Target="../slideLayouts/slideLayout48.xml"/><Relationship Id="rId49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50" Type="http://schemas.openxmlformats.org/officeDocument/2006/relationships/image" Target="../media/image1.png"/><Relationship Id="rId51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44.xml"/><Relationship Id="rId45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5B002517-676E-406E-9CC8-F34071CE2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CC50694B-33D5-45A5-B9F0-605F670D5E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15.02.2019</a:t>
            </a:r>
            <a:endParaRPr lang="de-DE" sz="9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407C29D3-2D73-4F49-B56E-D32513508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5866" y="6500393"/>
            <a:ext cx="7296537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Fußzeile Universität Augsbur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4F108140-EA1D-4506-BABD-AF3485301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674000"/>
            <a:ext cx="107532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xmlns="" id="{E0695CCD-AB97-47A6-B356-2E5EB2D33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79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7" name="Farbakzent links">
            <a:extLst>
              <a:ext uri="{FF2B5EF4-FFF2-40B4-BE49-F238E27FC236}">
                <a16:creationId xmlns:a16="http://schemas.microsoft.com/office/drawing/2014/main" xmlns="" id="{9D9C0A71-6028-48D4-B0A9-8857E5EE332A}"/>
              </a:ext>
            </a:extLst>
          </p:cNvPr>
          <p:cNvSpPr/>
          <p:nvPr userDrawn="1"/>
        </p:nvSpPr>
        <p:spPr>
          <a:xfrm>
            <a:off x="1" y="0"/>
            <a:ext cx="231229" cy="2644002"/>
          </a:xfrm>
          <a:custGeom>
            <a:avLst/>
            <a:gdLst>
              <a:gd name="connsiteX0" fmla="*/ 0 w 231229"/>
              <a:gd name="connsiteY0" fmla="*/ 0 h 2644002"/>
              <a:gd name="connsiteX1" fmla="*/ 231229 w 231229"/>
              <a:gd name="connsiteY1" fmla="*/ 0 h 2644002"/>
              <a:gd name="connsiteX2" fmla="*/ 231229 w 231229"/>
              <a:gd name="connsiteY2" fmla="*/ 427848 h 2644002"/>
              <a:gd name="connsiteX3" fmla="*/ 231229 w 231229"/>
              <a:gd name="connsiteY3" fmla="*/ 1100610 h 2644002"/>
              <a:gd name="connsiteX4" fmla="*/ 231229 w 231229"/>
              <a:gd name="connsiteY4" fmla="*/ 2499514 h 2644002"/>
              <a:gd name="connsiteX5" fmla="*/ 0 w 231229"/>
              <a:gd name="connsiteY5" fmla="*/ 2644002 h 2644002"/>
              <a:gd name="connsiteX6" fmla="*/ 0 w 231229"/>
              <a:gd name="connsiteY6" fmla="*/ 1100610 h 2644002"/>
              <a:gd name="connsiteX7" fmla="*/ 0 w 231229"/>
              <a:gd name="connsiteY7" fmla="*/ 427848 h 264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1229" h="2644002">
                <a:moveTo>
                  <a:pt x="0" y="0"/>
                </a:moveTo>
                <a:lnTo>
                  <a:pt x="231229" y="0"/>
                </a:lnTo>
                <a:lnTo>
                  <a:pt x="231229" y="427848"/>
                </a:lnTo>
                <a:lnTo>
                  <a:pt x="231229" y="1100610"/>
                </a:lnTo>
                <a:lnTo>
                  <a:pt x="231229" y="2499514"/>
                </a:lnTo>
                <a:lnTo>
                  <a:pt x="0" y="2644002"/>
                </a:lnTo>
                <a:lnTo>
                  <a:pt x="0" y="1100610"/>
                </a:lnTo>
                <a:lnTo>
                  <a:pt x="0" y="42784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40789B94-3BA2-4579-B5BA-A91701BC21A2}"/>
              </a:ext>
            </a:extLst>
          </p:cNvPr>
          <p:cNvPicPr>
            <a:picLocks noChangeAspect="1"/>
          </p:cNvPicPr>
          <p:nvPr userDrawn="1"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1"/>
              </a:ext>
            </a:extLst>
          </a:blip>
          <a:stretch>
            <a:fillRect/>
          </a:stretch>
        </p:blipFill>
        <p:spPr>
          <a:xfrm>
            <a:off x="10965221" y="6411885"/>
            <a:ext cx="507978" cy="30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9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17" r:id="rId2"/>
    <p:sldLayoutId id="2147483735" r:id="rId3"/>
    <p:sldLayoutId id="2147483734" r:id="rId4"/>
    <p:sldLayoutId id="2147483724" r:id="rId5"/>
    <p:sldLayoutId id="2147483693" r:id="rId6"/>
    <p:sldLayoutId id="2147483650" r:id="rId7"/>
    <p:sldLayoutId id="2147483652" r:id="rId8"/>
    <p:sldLayoutId id="2147483700" r:id="rId9"/>
    <p:sldLayoutId id="2147483701" r:id="rId10"/>
    <p:sldLayoutId id="2147483653" r:id="rId11"/>
    <p:sldLayoutId id="2147483692" r:id="rId12"/>
    <p:sldLayoutId id="2147483704" r:id="rId13"/>
    <p:sldLayoutId id="2147483705" r:id="rId14"/>
    <p:sldLayoutId id="2147483707" r:id="rId15"/>
    <p:sldLayoutId id="2147483654" r:id="rId16"/>
    <p:sldLayoutId id="2147483733" r:id="rId17"/>
    <p:sldLayoutId id="2147483737" r:id="rId18"/>
    <p:sldLayoutId id="2147483684" r:id="rId19"/>
    <p:sldLayoutId id="2147483698" r:id="rId20"/>
    <p:sldLayoutId id="2147483697" r:id="rId21"/>
    <p:sldLayoutId id="2147483685" r:id="rId22"/>
    <p:sldLayoutId id="2147483681" r:id="rId23"/>
    <p:sldLayoutId id="2147483703" r:id="rId24"/>
    <p:sldLayoutId id="2147483736" r:id="rId25"/>
    <p:sldLayoutId id="2147483686" r:id="rId26"/>
    <p:sldLayoutId id="2147483687" r:id="rId27"/>
    <p:sldLayoutId id="2147483690" r:id="rId28"/>
    <p:sldLayoutId id="2147483696" r:id="rId29"/>
    <p:sldLayoutId id="2147483679" r:id="rId30"/>
    <p:sldLayoutId id="2147483682" r:id="rId31"/>
    <p:sldLayoutId id="2147483678" r:id="rId32"/>
    <p:sldLayoutId id="2147483675" r:id="rId33"/>
    <p:sldLayoutId id="2147483688" r:id="rId34"/>
    <p:sldLayoutId id="2147483723" r:id="rId35"/>
    <p:sldLayoutId id="2147483699" r:id="rId36"/>
    <p:sldLayoutId id="2147483722" r:id="rId37"/>
    <p:sldLayoutId id="2147483738" r:id="rId38"/>
    <p:sldLayoutId id="2147483709" r:id="rId39"/>
    <p:sldLayoutId id="2147483710" r:id="rId40"/>
    <p:sldLayoutId id="2147483708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2600" indent="0" algn="l" defTabSz="914400" rtl="0" eaLnBrk="1" latinLnBrk="0" hangingPunct="1">
        <a:lnSpc>
          <a:spcPct val="100000"/>
        </a:lnSpc>
        <a:spcBef>
          <a:spcPts val="1200"/>
        </a:spcBef>
        <a:buClr>
          <a:srgbClr val="AD007C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12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2400"/>
        </a:spcBef>
        <a:spcAft>
          <a:spcPts val="0"/>
        </a:spcAft>
        <a:buClr>
          <a:srgbClr val="AD007C"/>
        </a:buClr>
        <a:buFont typeface="Wingdings" panose="05000000000000000000" pitchFamily="2" charset="2"/>
        <a:buNone/>
        <a:defRPr sz="1800" kern="1200" cap="none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56" userDrawn="1">
          <p15:clr>
            <a:srgbClr val="F26B43"/>
          </p15:clr>
        </p15:guide>
        <p15:guide id="4" pos="7224" userDrawn="1">
          <p15:clr>
            <a:srgbClr val="F26B43"/>
          </p15:clr>
        </p15:guide>
        <p15:guide id="5" orient="horz" pos="1056" userDrawn="1">
          <p15:clr>
            <a:srgbClr val="F26B43"/>
          </p15:clr>
        </p15:guide>
        <p15:guide id="6" orient="horz" pos="592" userDrawn="1">
          <p15:clr>
            <a:srgbClr val="F26B43"/>
          </p15:clr>
        </p15:guide>
        <p15:guide id="7" orient="horz" pos="3976" userDrawn="1">
          <p15:clr>
            <a:srgbClr val="F26B43"/>
          </p15:clr>
        </p15:guide>
        <p15:guide id="8" orient="horz" pos="904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5120" userDrawn="1">
          <p15:clr>
            <a:srgbClr val="F26B43"/>
          </p15:clr>
        </p15:guide>
        <p15:guide id="11" pos="2784" userDrawn="1">
          <p15:clr>
            <a:srgbClr val="F26B43"/>
          </p15:clr>
        </p15:guide>
        <p15:guide id="12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tags" Target="../tags/tag14.xml"/><Relationship Id="rId20" Type="http://schemas.openxmlformats.org/officeDocument/2006/relationships/image" Target="../media/image13.svg"/><Relationship Id="rId21" Type="http://schemas.openxmlformats.org/officeDocument/2006/relationships/image" Target="../media/image7.png"/><Relationship Id="rId22" Type="http://schemas.openxmlformats.org/officeDocument/2006/relationships/image" Target="../media/image15.svg"/><Relationship Id="rId23" Type="http://schemas.openxmlformats.org/officeDocument/2006/relationships/image" Target="../media/image8.png"/><Relationship Id="rId24" Type="http://schemas.openxmlformats.org/officeDocument/2006/relationships/image" Target="../media/image17.svg"/><Relationship Id="rId25" Type="http://schemas.openxmlformats.org/officeDocument/2006/relationships/image" Target="../media/image9.png"/><Relationship Id="rId26" Type="http://schemas.openxmlformats.org/officeDocument/2006/relationships/image" Target="../media/image19.svg"/><Relationship Id="rId27" Type="http://schemas.openxmlformats.org/officeDocument/2006/relationships/image" Target="../media/image10.png"/><Relationship Id="rId28" Type="http://schemas.openxmlformats.org/officeDocument/2006/relationships/image" Target="../media/image21.svg"/><Relationship Id="rId29" Type="http://schemas.openxmlformats.org/officeDocument/2006/relationships/image" Target="../media/image11.png"/><Relationship Id="rId30" Type="http://schemas.openxmlformats.org/officeDocument/2006/relationships/image" Target="../media/image23.svg"/><Relationship Id="rId10" Type="http://schemas.openxmlformats.org/officeDocument/2006/relationships/tags" Target="../tags/tag15.xml"/><Relationship Id="rId11" Type="http://schemas.openxmlformats.org/officeDocument/2006/relationships/slideLayout" Target="../slideLayouts/slideLayout2.xml"/><Relationship Id="rId12" Type="http://schemas.openxmlformats.org/officeDocument/2006/relationships/hyperlink" Target="mailto:alice.baird@informatik.uni-augsburg.de" TargetMode="External"/><Relationship Id="rId13" Type="http://schemas.openxmlformats.org/officeDocument/2006/relationships/image" Target="../media/image3.png"/><Relationship Id="rId14" Type="http://schemas.openxmlformats.org/officeDocument/2006/relationships/image" Target="../media/image7.svg"/><Relationship Id="rId15" Type="http://schemas.openxmlformats.org/officeDocument/2006/relationships/image" Target="../media/image4.png"/><Relationship Id="rId16" Type="http://schemas.openxmlformats.org/officeDocument/2006/relationships/image" Target="../media/image9.svg"/><Relationship Id="rId17" Type="http://schemas.openxmlformats.org/officeDocument/2006/relationships/image" Target="../media/image5.png"/><Relationship Id="rId18" Type="http://schemas.openxmlformats.org/officeDocument/2006/relationships/image" Target="../media/image11.svg"/><Relationship Id="rId19" Type="http://schemas.openxmlformats.org/officeDocument/2006/relationships/image" Target="../media/image6.png"/><Relationship Id="rId1" Type="http://schemas.openxmlformats.org/officeDocument/2006/relationships/tags" Target="../tags/tag6.xml"/><Relationship Id="rId2" Type="http://schemas.openxmlformats.org/officeDocument/2006/relationships/tags" Target="../tags/tag7.xml"/><Relationship Id="rId3" Type="http://schemas.openxmlformats.org/officeDocument/2006/relationships/tags" Target="../tags/tag8.xml"/><Relationship Id="rId4" Type="http://schemas.openxmlformats.org/officeDocument/2006/relationships/tags" Target="../tags/tag9.xml"/><Relationship Id="rId5" Type="http://schemas.openxmlformats.org/officeDocument/2006/relationships/tags" Target="../tags/tag10.xml"/><Relationship Id="rId6" Type="http://schemas.openxmlformats.org/officeDocument/2006/relationships/tags" Target="../tags/tag11.xml"/><Relationship Id="rId7" Type="http://schemas.openxmlformats.org/officeDocument/2006/relationships/tags" Target="../tags/tag12.xml"/><Relationship Id="rId8" Type="http://schemas.openxmlformats.org/officeDocument/2006/relationships/tags" Target="../tags/tag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4" Type="http://schemas.openxmlformats.org/officeDocument/2006/relationships/image" Target="../media/image19.png"/><Relationship Id="rId5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1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hyperlink" Target="https://www.coursera.org/specializations/deep-learning" TargetMode="External"/><Relationship Id="rId3" Type="http://schemas.openxmlformats.org/officeDocument/2006/relationships/hyperlink" Target="http://www.deeplearningbook.org/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hyperlink" Target="https://www.anaconda.com" TargetMode="External"/><Relationship Id="rId3" Type="http://schemas.openxmlformats.org/officeDocument/2006/relationships/hyperlink" Target="https://www.python.org/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3.tif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xmlns="" id="{07844449-0B25-40A7-BD87-0C94E6A3CA60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sz="2600" dirty="0"/>
              <a:t>T</a:t>
            </a:r>
            <a:r>
              <a:rPr lang="de-DE" sz="2600" dirty="0" smtClean="0"/>
              <a:t>1: </a:t>
            </a:r>
            <a:r>
              <a:rPr lang="de-DE" sz="2600" dirty="0" err="1" smtClean="0"/>
              <a:t>Introduction</a:t>
            </a:r>
            <a:r>
              <a:rPr lang="de-DE" sz="2600" dirty="0" smtClean="0"/>
              <a:t> </a:t>
            </a:r>
            <a:r>
              <a:rPr lang="de-DE" sz="2600" dirty="0" err="1" smtClean="0"/>
              <a:t>to</a:t>
            </a:r>
            <a:r>
              <a:rPr lang="de-DE" sz="2600" dirty="0" smtClean="0"/>
              <a:t> Scientific Computing: Python </a:t>
            </a:r>
            <a:r>
              <a:rPr lang="mr-IN" sz="2600" dirty="0" smtClean="0"/>
              <a:t>–</a:t>
            </a:r>
            <a:r>
              <a:rPr lang="de-DE" sz="2600" dirty="0" smtClean="0"/>
              <a:t> </a:t>
            </a:r>
            <a:r>
              <a:rPr lang="de-DE" sz="2600" dirty="0" err="1" smtClean="0"/>
              <a:t>Numpy</a:t>
            </a:r>
            <a:r>
              <a:rPr lang="de-DE" sz="2600" dirty="0" smtClean="0"/>
              <a:t> </a:t>
            </a:r>
            <a:r>
              <a:rPr lang="de-DE" sz="2600" dirty="0" err="1" smtClean="0"/>
              <a:t>and</a:t>
            </a:r>
            <a:r>
              <a:rPr lang="de-DE" sz="2600" dirty="0" smtClean="0"/>
              <a:t> </a:t>
            </a:r>
            <a:r>
              <a:rPr lang="de-DE" sz="2600" dirty="0" err="1" smtClean="0"/>
              <a:t>Matplotlib</a:t>
            </a:r>
            <a:endParaRPr lang="de-DE" sz="2600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xmlns="" id="{C9C036FB-C9D2-4591-86A2-E9E673AAAC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Alice Baird</a:t>
            </a:r>
            <a:endParaRPr lang="de-DE" dirty="0"/>
          </a:p>
          <a:p>
            <a:r>
              <a:rPr lang="de-DE" dirty="0" smtClean="0">
                <a:hlinkClick r:id="rId12"/>
              </a:rPr>
              <a:t>alice.baird@informatik.uni-augsburg.de</a:t>
            </a:r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r>
              <a:rPr lang="de-DE" dirty="0" err="1" smtClean="0"/>
              <a:t>Deep</a:t>
            </a:r>
            <a:r>
              <a:rPr lang="de-DE" dirty="0" smtClean="0"/>
              <a:t> Learning </a:t>
            </a:r>
            <a:r>
              <a:rPr lang="mr-IN" dirty="0" smtClean="0"/>
              <a:t>–</a:t>
            </a:r>
            <a:r>
              <a:rPr lang="de-DE" dirty="0" smtClean="0"/>
              <a:t> EIHW </a:t>
            </a:r>
            <a:r>
              <a:rPr lang="mr-IN" dirty="0" smtClean="0"/>
              <a:t>–</a:t>
            </a:r>
            <a:r>
              <a:rPr lang="de-DE" dirty="0" smtClean="0"/>
              <a:t> University Augsburg</a:t>
            </a:r>
            <a:endParaRPr lang="de-DE" dirty="0"/>
          </a:p>
        </p:txBody>
      </p:sp>
      <p:pic>
        <p:nvPicPr>
          <p:cNvPr id="14" name="Logo_Basis_neg." hidden="1">
            <a:extLst>
              <a:ext uri="{FF2B5EF4-FFF2-40B4-BE49-F238E27FC236}">
                <a16:creationId xmlns:a16="http://schemas.microsoft.com/office/drawing/2014/main" xmlns="" id="{BB0358A7-6314-4317-B9A8-ED88AD107ADA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5" name="Logo_FAI_neg.">
            <a:extLst>
              <a:ext uri="{FF2B5EF4-FFF2-40B4-BE49-F238E27FC236}">
                <a16:creationId xmlns:a16="http://schemas.microsoft.com/office/drawing/2014/main" xmlns="" id="{E06FABA5-36D0-4DC0-94BA-1B19FDC7911F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6" name="Logo_JUF_neg." hidden="1">
            <a:extLst>
              <a:ext uri="{FF2B5EF4-FFF2-40B4-BE49-F238E27FC236}">
                <a16:creationId xmlns:a16="http://schemas.microsoft.com/office/drawing/2014/main" xmlns="" id="{0B398B1D-08AF-4FDC-8B79-7443E21DD094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7" name="Logo_KTF_neg." hidden="1">
            <a:extLst>
              <a:ext uri="{FF2B5EF4-FFF2-40B4-BE49-F238E27FC236}">
                <a16:creationId xmlns:a16="http://schemas.microsoft.com/office/drawing/2014/main" xmlns="" id="{141DFD45-EA8D-413E-8CCC-2C6BBAF7BD6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8" name="Logo_MEF_neg." hidden="1">
            <a:extLst>
              <a:ext uri="{FF2B5EF4-FFF2-40B4-BE49-F238E27FC236}">
                <a16:creationId xmlns:a16="http://schemas.microsoft.com/office/drawing/2014/main" xmlns="" id="{7962D77E-B001-476F-A8F8-FCF994C7F538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9" name="Logo_MNTF_neg." hidden="1">
            <a:extLst>
              <a:ext uri="{FF2B5EF4-FFF2-40B4-BE49-F238E27FC236}">
                <a16:creationId xmlns:a16="http://schemas.microsoft.com/office/drawing/2014/main" xmlns="" id="{E2CCCC58-F5AE-4141-BB4D-217B271EAF20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0" name="Logo_PHF_neg." hidden="1">
            <a:extLst>
              <a:ext uri="{FF2B5EF4-FFF2-40B4-BE49-F238E27FC236}">
                <a16:creationId xmlns:a16="http://schemas.microsoft.com/office/drawing/2014/main" xmlns="" id="{B38C48F9-6262-4647-8E95-5DBA20D27ACF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6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1" name="Logo_PSF_neg." hidden="1">
            <a:extLst>
              <a:ext uri="{FF2B5EF4-FFF2-40B4-BE49-F238E27FC236}">
                <a16:creationId xmlns:a16="http://schemas.microsoft.com/office/drawing/2014/main" xmlns="" id="{31604210-6B50-4703-8445-4E06CD588D60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8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2" name="Logo_WWF_neg." hidden="1">
            <a:extLst>
              <a:ext uri="{FF2B5EF4-FFF2-40B4-BE49-F238E27FC236}">
                <a16:creationId xmlns:a16="http://schemas.microsoft.com/office/drawing/2014/main" xmlns="" id="{3B3FBDC5-2D73-45B4-BBE4-09C07B3E3C82}"/>
              </a:ext>
            </a:extLst>
          </p:cNvPr>
          <p:cNvPicPr>
            <a:picLocks noMove="1" noResize="1"/>
          </p:cNvPicPr>
          <p:nvPr>
            <p:custDataLst>
              <p:tags r:id="rId10"/>
            </p:custDataLst>
          </p:nvPr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0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539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2">
            <a:extLst>
              <a:ext uri="{FF2B5EF4-FFF2-40B4-BE49-F238E27FC236}">
                <a16:creationId xmlns:a16="http://schemas.microsoft.com/office/drawing/2014/main" xmlns="" id="{9BDEAEEF-B3AF-4E25-860D-E6E06271F7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10753200" cy="4644000"/>
          </a:xfrm>
        </p:spPr>
        <p:txBody>
          <a:bodyPr/>
          <a:lstStyle/>
          <a:p>
            <a:pPr marL="298350" indent="-285750">
              <a:buFont typeface="Arial" charset="0"/>
              <a:buChar char="•"/>
            </a:pPr>
            <a:r>
              <a:rPr lang="en-GB" dirty="0" err="1" smtClean="0"/>
              <a:t>NumPy</a:t>
            </a:r>
            <a:r>
              <a:rPr lang="en-GB" dirty="0" smtClean="0"/>
              <a:t> arrays comprise elements of a single data type </a:t>
            </a:r>
          </a:p>
          <a:p>
            <a:pPr marL="298350" indent="-285750">
              <a:buFont typeface="Arial" charset="0"/>
              <a:buChar char="•"/>
            </a:pPr>
            <a:r>
              <a:rPr lang="en-GB" i="1" dirty="0" smtClean="0"/>
              <a:t>The type object is accessible through the </a:t>
            </a: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.</a:t>
            </a:r>
            <a:r>
              <a:rPr lang="en-GB" i="1" dirty="0" err="1" smtClean="0">
                <a:latin typeface="Courier New" charset="0"/>
                <a:ea typeface="Courier New" charset="0"/>
                <a:cs typeface="Courier New" charset="0"/>
              </a:rPr>
              <a:t>dtype</a:t>
            </a: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GB" i="1" dirty="0" smtClean="0"/>
              <a:t>attribute </a:t>
            </a:r>
          </a:p>
          <a:p>
            <a:pPr marL="298350" indent="-285750">
              <a:buFont typeface="Arial" charset="0"/>
              <a:buChar char="•"/>
            </a:pPr>
            <a:r>
              <a:rPr lang="en-GB" i="1" dirty="0" smtClean="0"/>
              <a:t>Here are a few of the most important attributes of </a:t>
            </a:r>
            <a:r>
              <a:rPr lang="en-GB" i="1" dirty="0" err="1" smtClean="0"/>
              <a:t>dtype</a:t>
            </a:r>
            <a:r>
              <a:rPr lang="en-GB" i="1" dirty="0" smtClean="0"/>
              <a:t> objects 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i="1" dirty="0" err="1" smtClean="0">
                <a:latin typeface="Courier New" charset="0"/>
                <a:ea typeface="Courier New" charset="0"/>
                <a:cs typeface="Courier New" charset="0"/>
              </a:rPr>
              <a:t>dtype.byteorder</a:t>
            </a:r>
            <a:r>
              <a:rPr lang="en-GB" i="1" dirty="0" smtClean="0"/>
              <a:t> – big or little endian 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i="1" dirty="0" err="1" smtClean="0">
                <a:latin typeface="Courier New" charset="0"/>
                <a:ea typeface="Courier New" charset="0"/>
                <a:cs typeface="Courier New" charset="0"/>
              </a:rPr>
              <a:t>dtype.itemsize</a:t>
            </a:r>
            <a:r>
              <a:rPr lang="en-GB" i="1" dirty="0" smtClean="0"/>
              <a:t> – element size of this </a:t>
            </a:r>
            <a:r>
              <a:rPr lang="en-GB" i="1" dirty="0" err="1" smtClean="0"/>
              <a:t>dtype</a:t>
            </a:r>
            <a:r>
              <a:rPr lang="en-GB" i="1" dirty="0" smtClean="0"/>
              <a:t> 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i="1" dirty="0" err="1" smtClean="0">
                <a:latin typeface="Courier New" charset="0"/>
                <a:ea typeface="Courier New" charset="0"/>
                <a:cs typeface="Courier New" charset="0"/>
              </a:rPr>
              <a:t>dtype.name</a:t>
            </a:r>
            <a:r>
              <a:rPr lang="en-GB" i="1" dirty="0" smtClean="0"/>
              <a:t> – a name for this </a:t>
            </a:r>
            <a:r>
              <a:rPr lang="en-GB" i="1" dirty="0" err="1" smtClean="0"/>
              <a:t>dtype</a:t>
            </a:r>
            <a:r>
              <a:rPr lang="en-GB" i="1" dirty="0" smtClean="0"/>
              <a:t> object 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i="1" dirty="0" err="1" smtClean="0">
                <a:latin typeface="Courier New" charset="0"/>
                <a:ea typeface="Courier New" charset="0"/>
                <a:cs typeface="Courier New" charset="0"/>
              </a:rPr>
              <a:t>Dtype.type</a:t>
            </a:r>
            <a:r>
              <a:rPr lang="en-GB" i="1" dirty="0" smtClean="0"/>
              <a:t> – type object used to create scalers </a:t>
            </a:r>
          </a:p>
        </p:txBody>
      </p:sp>
      <p:sp>
        <p:nvSpPr>
          <p:cNvPr id="22" name="Titel 21">
            <a:extLst>
              <a:ext uri="{FF2B5EF4-FFF2-40B4-BE49-F238E27FC236}">
                <a16:creationId xmlns:a16="http://schemas.microsoft.com/office/drawing/2014/main" xmlns="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NumPy</a:t>
            </a:r>
            <a:endParaRPr lang="de-DE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xmlns="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smtClean="0"/>
              <a:t>Array Element </a:t>
            </a:r>
            <a:r>
              <a:rPr lang="de-DE" dirty="0" err="1" smtClean="0"/>
              <a:t>Types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xmlns="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0</a:t>
            </a:fld>
            <a:endParaRPr lang="de-DE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7587" y="-2469702"/>
            <a:ext cx="8489201" cy="12013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167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2">
            <a:extLst>
              <a:ext uri="{FF2B5EF4-FFF2-40B4-BE49-F238E27FC236}">
                <a16:creationId xmlns:a16="http://schemas.microsoft.com/office/drawing/2014/main" xmlns="" id="{9BDEAEEF-B3AF-4E25-860D-E6E06271F7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10753200" cy="4644000"/>
          </a:xfrm>
        </p:spPr>
        <p:txBody>
          <a:bodyPr/>
          <a:lstStyle/>
          <a:p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&gt;&gt;&gt; v1 = </a:t>
            </a:r>
            <a:r>
              <a:rPr lang="en-GB" i="1" dirty="0" err="1" smtClean="0">
                <a:latin typeface="Courier New" charset="0"/>
                <a:ea typeface="Courier New" charset="0"/>
                <a:cs typeface="Courier New" charset="0"/>
              </a:rPr>
              <a:t>np.array</a:t>
            </a:r>
            <a:r>
              <a:rPr lang="mr-IN" dirty="0" smtClean="0">
                <a:latin typeface="Courier New" charset="0"/>
                <a:ea typeface="Courier New" charset="0"/>
                <a:cs typeface="Courier New" charset="0"/>
              </a:rPr>
              <a:t>([</a:t>
            </a:r>
            <a:r>
              <a:rPr lang="mr-IN" dirty="0">
                <a:latin typeface="Courier New" charset="0"/>
                <a:ea typeface="Courier New" charset="0"/>
                <a:cs typeface="Courier New" charset="0"/>
              </a:rPr>
              <a:t>0, 1, 2, 3, 4</a:t>
            </a:r>
            <a:r>
              <a:rPr lang="mr-IN" dirty="0" smtClean="0">
                <a:latin typeface="Courier New" charset="0"/>
                <a:ea typeface="Courier New" charset="0"/>
                <a:cs typeface="Courier New" charset="0"/>
              </a:rPr>
              <a:t>])</a:t>
            </a:r>
            <a:endParaRPr lang="en-GB" dirty="0" smtClean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GB" dirty="0" smtClean="0">
                <a:latin typeface="Courier New" charset="0"/>
                <a:ea typeface="Courier New" charset="0"/>
                <a:cs typeface="Courier New" charset="0"/>
              </a:rPr>
              <a:t>&gt;&gt;&gt; </a:t>
            </a:r>
            <a:r>
              <a:rPr lang="pl-PL" dirty="0" smtClean="0">
                <a:latin typeface="Courier New" charset="0"/>
                <a:ea typeface="Courier New" charset="0"/>
                <a:cs typeface="Courier New" charset="0"/>
              </a:rPr>
              <a:t>v2 </a:t>
            </a:r>
            <a:r>
              <a:rPr lang="pl-PL" dirty="0">
                <a:latin typeface="Courier New" charset="0"/>
                <a:ea typeface="Courier New" charset="0"/>
                <a:cs typeface="Courier New" charset="0"/>
              </a:rPr>
              <a:t>= </a:t>
            </a:r>
            <a:r>
              <a:rPr lang="pl-PL" dirty="0" err="1">
                <a:latin typeface="Courier New" charset="0"/>
                <a:ea typeface="Courier New" charset="0"/>
                <a:cs typeface="Courier New" charset="0"/>
              </a:rPr>
              <a:t>np.array</a:t>
            </a:r>
            <a:r>
              <a:rPr lang="pl-PL" dirty="0">
                <a:latin typeface="Courier New" charset="0"/>
                <a:ea typeface="Courier New" charset="0"/>
                <a:cs typeface="Courier New" charset="0"/>
              </a:rPr>
              <a:t>([0,1,2,3,4,5,6,7,8,9,10,11,12,13,14</a:t>
            </a:r>
            <a:r>
              <a:rPr lang="pl-PL" dirty="0" smtClean="0">
                <a:latin typeface="Courier New" charset="0"/>
                <a:ea typeface="Courier New" charset="0"/>
                <a:cs typeface="Courier New" charset="0"/>
              </a:rPr>
              <a:t>])</a:t>
            </a:r>
          </a:p>
          <a:p>
            <a:r>
              <a:rPr lang="en-GB" dirty="0" smtClean="0">
                <a:latin typeface="Courier New" charset="0"/>
                <a:ea typeface="Courier New" charset="0"/>
                <a:cs typeface="Courier New" charset="0"/>
              </a:rPr>
              <a:t>&gt;&gt;&gt; </a:t>
            </a:r>
            <a:r>
              <a:rPr lang="mr-IN" dirty="0" smtClean="0">
                <a:latin typeface="Courier New" charset="0"/>
                <a:ea typeface="Courier New" charset="0"/>
                <a:cs typeface="Courier New" charset="0"/>
              </a:rPr>
              <a:t>v2 </a:t>
            </a:r>
            <a:r>
              <a:rPr lang="mr-IN" dirty="0">
                <a:latin typeface="Courier New" charset="0"/>
                <a:ea typeface="Courier New" charset="0"/>
                <a:cs typeface="Courier New" charset="0"/>
              </a:rPr>
              <a:t>= v2.reshape</a:t>
            </a:r>
            <a:r>
              <a:rPr lang="mr-IN" dirty="0" smtClean="0">
                <a:latin typeface="Courier New" charset="0"/>
                <a:ea typeface="Courier New" charset="0"/>
                <a:cs typeface="Courier New" charset="0"/>
              </a:rPr>
              <a:t>((</a:t>
            </a:r>
            <a:r>
              <a:rPr lang="en-GB" dirty="0" smtClean="0">
                <a:latin typeface="Courier New" charset="0"/>
                <a:ea typeface="Courier New" charset="0"/>
                <a:cs typeface="Courier New" charset="0"/>
              </a:rPr>
              <a:t>3</a:t>
            </a:r>
            <a:r>
              <a:rPr lang="mr-IN" dirty="0" smtClean="0">
                <a:latin typeface="Courier New" charset="0"/>
                <a:ea typeface="Courier New" charset="0"/>
                <a:cs typeface="Courier New" charset="0"/>
              </a:rPr>
              <a:t>,</a:t>
            </a:r>
            <a:r>
              <a:rPr lang="en-GB" dirty="0" smtClean="0">
                <a:latin typeface="Courier New" charset="0"/>
                <a:ea typeface="Courier New" charset="0"/>
                <a:cs typeface="Courier New" charset="0"/>
              </a:rPr>
              <a:t>5</a:t>
            </a:r>
            <a:r>
              <a:rPr lang="mr-IN" dirty="0" smtClean="0">
                <a:latin typeface="Courier New" charset="0"/>
                <a:ea typeface="Courier New" charset="0"/>
                <a:cs typeface="Courier New" charset="0"/>
              </a:rPr>
              <a:t>,))</a:t>
            </a:r>
            <a:endParaRPr lang="en-GB" dirty="0" smtClean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GB" dirty="0" smtClean="0">
                <a:latin typeface="Courier New" charset="0"/>
                <a:ea typeface="Courier New" charset="0"/>
                <a:cs typeface="Courier New" charset="0"/>
              </a:rPr>
              <a:t>&gt;&gt;&gt; </a:t>
            </a:r>
            <a:r>
              <a:rPr lang="mr-IN" dirty="0" smtClean="0">
                <a:latin typeface="Courier New" charset="0"/>
                <a:ea typeface="Courier New" charset="0"/>
                <a:cs typeface="Courier New" charset="0"/>
              </a:rPr>
              <a:t>v3 </a:t>
            </a:r>
            <a:r>
              <a:rPr lang="mr-IN" dirty="0">
                <a:latin typeface="Courier New" charset="0"/>
                <a:ea typeface="Courier New" charset="0"/>
                <a:cs typeface="Courier New" charset="0"/>
              </a:rPr>
              <a:t>= </a:t>
            </a:r>
            <a:r>
              <a:rPr lang="mr-IN" dirty="0" err="1">
                <a:latin typeface="Courier New" charset="0"/>
                <a:ea typeface="Courier New" charset="0"/>
                <a:cs typeface="Courier New" charset="0"/>
              </a:rPr>
              <a:t>np.array</a:t>
            </a:r>
            <a:r>
              <a:rPr lang="mr-IN" dirty="0">
                <a:latin typeface="Courier New" charset="0"/>
                <a:ea typeface="Courier New" charset="0"/>
                <a:cs typeface="Courier New" charset="0"/>
              </a:rPr>
              <a:t>([v2,v2,v2])</a:t>
            </a:r>
          </a:p>
          <a:p>
            <a:endParaRPr lang="mr-IN" dirty="0">
              <a:latin typeface="Courier New" charset="0"/>
              <a:ea typeface="Courier New" charset="0"/>
              <a:cs typeface="Courier New" charset="0"/>
            </a:endParaRPr>
          </a:p>
          <a:p>
            <a:endParaRPr lang="pl-PL" dirty="0">
              <a:latin typeface="Courier New" charset="0"/>
              <a:ea typeface="Courier New" charset="0"/>
              <a:cs typeface="Courier New" charset="0"/>
            </a:endParaRPr>
          </a:p>
          <a:p>
            <a:endParaRPr lang="en-GB" i="1" dirty="0" smtClean="0">
              <a:latin typeface="Courier New" charset="0"/>
              <a:ea typeface="Courier New" charset="0"/>
              <a:cs typeface="Courier New" charset="0"/>
            </a:endParaRPr>
          </a:p>
        </p:txBody>
      </p:sp>
      <p:sp>
        <p:nvSpPr>
          <p:cNvPr id="22" name="Titel 21">
            <a:extLst>
              <a:ext uri="{FF2B5EF4-FFF2-40B4-BE49-F238E27FC236}">
                <a16:creationId xmlns:a16="http://schemas.microsoft.com/office/drawing/2014/main" xmlns="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NumPy</a:t>
            </a:r>
            <a:endParaRPr lang="de-DE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xmlns="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 smtClean="0"/>
              <a:t>To</a:t>
            </a:r>
            <a:r>
              <a:rPr lang="de-DE" dirty="0" smtClean="0"/>
              <a:t> follow.. </a:t>
            </a:r>
            <a:endParaRPr lang="de-DE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xmlns="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2371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2">
            <a:extLst>
              <a:ext uri="{FF2B5EF4-FFF2-40B4-BE49-F238E27FC236}">
                <a16:creationId xmlns:a16="http://schemas.microsoft.com/office/drawing/2014/main" xmlns="" id="{9BDEAEEF-B3AF-4E25-860D-E6E06271F7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8943226" cy="4644000"/>
          </a:xfrm>
        </p:spPr>
        <p:txBody>
          <a:bodyPr numCol="2"/>
          <a:lstStyle/>
          <a:p>
            <a:pPr marL="298350" indent="-285750">
              <a:buFont typeface="Arial" charset="0"/>
              <a:buChar char="•"/>
            </a:pPr>
            <a:r>
              <a:rPr lang="en-GB" i="1" dirty="0" smtClean="0"/>
              <a:t>In 1 dimension 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V1[1</a:t>
            </a: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] = 1</a:t>
            </a:r>
          </a:p>
          <a:p>
            <a:pPr marL="298350" indent="-285750">
              <a:buFont typeface="Arial" charset="0"/>
              <a:buChar char="•"/>
            </a:pPr>
            <a:r>
              <a:rPr lang="en-GB" i="1" dirty="0" smtClean="0"/>
              <a:t>In 2 dimensions </a:t>
            </a:r>
            <a:endParaRPr lang="en-GB" i="1" dirty="0"/>
          </a:p>
          <a:p>
            <a:pPr marL="501750" lvl="1" indent="-285750">
              <a:buFont typeface="Arial" charset="0"/>
              <a:buChar char="•"/>
            </a:pP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V2[1,1</a:t>
            </a: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] = 6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V2[1</a:t>
            </a: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][1] = 6</a:t>
            </a:r>
          </a:p>
          <a:p>
            <a:pPr marL="298350" indent="-285750">
              <a:buFont typeface="Arial" charset="0"/>
              <a:buChar char="•"/>
            </a:pPr>
            <a:r>
              <a:rPr lang="en-GB" i="1" dirty="0" smtClean="0"/>
              <a:t>Only a row from a 2D array 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V2[1</a:t>
            </a: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] = </a:t>
            </a: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([</a:t>
            </a: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5,6,7,8,9])</a:t>
            </a:r>
          </a:p>
          <a:p>
            <a:pPr marL="298350" indent="-285750">
              <a:buFont typeface="Arial" charset="0"/>
              <a:buChar char="•"/>
            </a:pPr>
            <a:r>
              <a:rPr lang="en-GB" i="1" dirty="0" smtClean="0"/>
              <a:t>Only a column from a 2D array 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V2[:, </a:t>
            </a: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1] = </a:t>
            </a: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([</a:t>
            </a: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1,6,11])</a:t>
            </a:r>
          </a:p>
          <a:p>
            <a:pPr marL="298350" indent="-285750">
              <a:buFont typeface="Arial" charset="0"/>
              <a:buChar char="•"/>
            </a:pPr>
            <a:endParaRPr lang="en-GB" i="1" dirty="0" smtClean="0"/>
          </a:p>
          <a:p>
            <a:pPr marL="298350" indent="-285750">
              <a:buFont typeface="Arial" charset="0"/>
              <a:buChar char="•"/>
            </a:pPr>
            <a:endParaRPr lang="en-GB" i="1" dirty="0" smtClean="0"/>
          </a:p>
          <a:p>
            <a:pPr marL="298350" indent="-285750">
              <a:buFont typeface="Arial" charset="0"/>
              <a:buChar char="•"/>
            </a:pPr>
            <a:r>
              <a:rPr lang="en-GB" i="1" dirty="0" smtClean="0"/>
              <a:t>In 3 dimensions </a:t>
            </a:r>
            <a:r>
              <a:rPr lang="en-GB" i="1" dirty="0" smtClean="0"/>
              <a:t> (</a:t>
            </a:r>
            <a:r>
              <a:rPr lang="en-GB" i="1" dirty="0" err="1" smtClean="0"/>
              <a:t>i,j,k</a:t>
            </a:r>
            <a:r>
              <a:rPr lang="en-GB" i="1" dirty="0" smtClean="0"/>
              <a:t>)</a:t>
            </a:r>
            <a:endParaRPr lang="en-GB" i="1" dirty="0" smtClean="0"/>
          </a:p>
          <a:p>
            <a:pPr marL="501750" lvl="1" indent="-285750">
              <a:buFont typeface="Arial" charset="0"/>
              <a:buChar char="•"/>
            </a:pP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V3[2,0,2</a:t>
            </a: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] = 2</a:t>
            </a:r>
          </a:p>
          <a:p>
            <a:pPr marL="296863" indent="-284163">
              <a:buFont typeface="Arial" charset="0"/>
              <a:buChar char="•"/>
            </a:pPr>
            <a:r>
              <a:rPr lang="en-GB" i="1" dirty="0" smtClean="0"/>
              <a:t>3D row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V3[1</a:t>
            </a: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, 1] = </a:t>
            </a: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([5,6,7,8,9])</a:t>
            </a:r>
          </a:p>
          <a:p>
            <a:pPr marL="298350" indent="-285750">
              <a:buFont typeface="Arial" charset="0"/>
              <a:buChar char="•"/>
            </a:pPr>
            <a:r>
              <a:rPr lang="en-GB" i="1" dirty="0" smtClean="0"/>
              <a:t>3D column</a:t>
            </a:r>
            <a:endParaRPr lang="en-GB" i="1" dirty="0" smtClean="0"/>
          </a:p>
          <a:p>
            <a:pPr marL="501750" lvl="1" indent="-285750">
              <a:buFont typeface="Arial" charset="0"/>
              <a:buChar char="•"/>
            </a:pP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V3[0</a:t>
            </a: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, :, 1] = </a:t>
            </a: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([</a:t>
            </a: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1,6,11])</a:t>
            </a:r>
          </a:p>
        </p:txBody>
      </p:sp>
      <p:sp>
        <p:nvSpPr>
          <p:cNvPr id="22" name="Titel 21">
            <a:extLst>
              <a:ext uri="{FF2B5EF4-FFF2-40B4-BE49-F238E27FC236}">
                <a16:creationId xmlns:a16="http://schemas.microsoft.com/office/drawing/2014/main" xmlns="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NumPy</a:t>
            </a:r>
            <a:endParaRPr lang="de-DE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xmlns="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 smtClean="0"/>
              <a:t>Indexing</a:t>
            </a:r>
            <a:r>
              <a:rPr lang="de-DE" dirty="0" smtClean="0"/>
              <a:t> </a:t>
            </a:r>
            <a:r>
              <a:rPr lang="de-DE" dirty="0" err="1" smtClean="0"/>
              <a:t>arrays</a:t>
            </a:r>
            <a:endParaRPr lang="de-DE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xmlns="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2</a:t>
            </a:fld>
            <a:endParaRPr lang="de-DE" dirty="0"/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778915"/>
              </p:ext>
            </p:extLst>
          </p:nvPr>
        </p:nvGraphicFramePr>
        <p:xfrm>
          <a:off x="9384942" y="1669938"/>
          <a:ext cx="2369705" cy="426148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473941"/>
                <a:gridCol w="473941"/>
                <a:gridCol w="473941"/>
                <a:gridCol w="473941"/>
                <a:gridCol w="473941"/>
              </a:tblGrid>
              <a:tr h="426148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DA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2433487"/>
              </p:ext>
            </p:extLst>
          </p:nvPr>
        </p:nvGraphicFramePr>
        <p:xfrm>
          <a:off x="9384941" y="2390628"/>
          <a:ext cx="2369705" cy="1188720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473941"/>
                <a:gridCol w="473941"/>
                <a:gridCol w="473941"/>
                <a:gridCol w="473941"/>
                <a:gridCol w="473941"/>
              </a:tblGrid>
              <a:tr h="380919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DA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5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DA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6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DA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7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DA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8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DA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9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DAF7"/>
                    </a:solidFill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DA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23" name="Straight Arrow Connector 22"/>
          <p:cNvCxnSpPr/>
          <p:nvPr/>
        </p:nvCxnSpPr>
        <p:spPr>
          <a:xfrm>
            <a:off x="10075118" y="1533084"/>
            <a:ext cx="1064159" cy="64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96264" y="2429748"/>
            <a:ext cx="0" cy="11496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11952478" y="2768228"/>
            <a:ext cx="4208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smtClean="0"/>
              <a:t>j</a:t>
            </a:r>
            <a:endParaRPr lang="en-GB" i="1"/>
          </a:p>
        </p:txBody>
      </p:sp>
      <p:sp>
        <p:nvSpPr>
          <p:cNvPr id="29" name="TextBox 28"/>
          <p:cNvSpPr txBox="1"/>
          <p:nvPr/>
        </p:nvSpPr>
        <p:spPr>
          <a:xfrm>
            <a:off x="10396789" y="1173811"/>
            <a:ext cx="4208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/>
              <a:t>k</a:t>
            </a:r>
          </a:p>
        </p:txBody>
      </p:sp>
      <p:graphicFrame>
        <p:nvGraphicFramePr>
          <p:cNvPr id="30" name="Table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9892909"/>
              </p:ext>
            </p:extLst>
          </p:nvPr>
        </p:nvGraphicFramePr>
        <p:xfrm>
          <a:off x="4598039" y="5434994"/>
          <a:ext cx="2449935" cy="1188720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489987"/>
                <a:gridCol w="489987"/>
                <a:gridCol w="489987"/>
                <a:gridCol w="489987"/>
                <a:gridCol w="489987"/>
              </a:tblGrid>
              <a:tr h="380919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DA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5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6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DA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7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8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9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DA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31" name="Table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6842364"/>
              </p:ext>
            </p:extLst>
          </p:nvPr>
        </p:nvGraphicFramePr>
        <p:xfrm>
          <a:off x="9663225" y="4649735"/>
          <a:ext cx="2449935" cy="1188720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489987"/>
                <a:gridCol w="489987"/>
                <a:gridCol w="489987"/>
                <a:gridCol w="489987"/>
                <a:gridCol w="489987"/>
              </a:tblGrid>
              <a:tr h="380919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DA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5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6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7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8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9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32" name="Straight Arrow Connector 31"/>
          <p:cNvCxnSpPr/>
          <p:nvPr/>
        </p:nvCxnSpPr>
        <p:spPr>
          <a:xfrm>
            <a:off x="4419956" y="5427082"/>
            <a:ext cx="0" cy="11496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5290988" y="5269595"/>
            <a:ext cx="967417" cy="64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 flipV="1">
            <a:off x="8094074" y="6068627"/>
            <a:ext cx="2644412" cy="6623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3946658" y="5795531"/>
            <a:ext cx="382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smtClean="0"/>
              <a:t>j</a:t>
            </a:r>
            <a:endParaRPr lang="en-GB" i="1"/>
          </a:p>
        </p:txBody>
      </p:sp>
      <p:sp>
        <p:nvSpPr>
          <p:cNvPr id="36" name="TextBox 35"/>
          <p:cNvSpPr txBox="1"/>
          <p:nvPr/>
        </p:nvSpPr>
        <p:spPr>
          <a:xfrm>
            <a:off x="5583418" y="4818667"/>
            <a:ext cx="382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/>
              <a:t>k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9267299" y="6415000"/>
            <a:ext cx="382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 smtClean="0"/>
              <a:t>i</a:t>
            </a:r>
            <a:endParaRPr lang="en-GB" i="1" dirty="0"/>
          </a:p>
        </p:txBody>
      </p:sp>
      <p:graphicFrame>
        <p:nvGraphicFramePr>
          <p:cNvPr id="38" name="Table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121896"/>
              </p:ext>
            </p:extLst>
          </p:nvPr>
        </p:nvGraphicFramePr>
        <p:xfrm>
          <a:off x="7138976" y="5024234"/>
          <a:ext cx="2449935" cy="1188720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489987"/>
                <a:gridCol w="489987"/>
                <a:gridCol w="489987"/>
                <a:gridCol w="489987"/>
                <a:gridCol w="489987"/>
              </a:tblGrid>
              <a:tr h="380919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5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DA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6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DA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7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DA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8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DA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9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DAF7"/>
                    </a:solidFill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8687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1306278"/>
              </p:ext>
            </p:extLst>
          </p:nvPr>
        </p:nvGraphicFramePr>
        <p:xfrm>
          <a:off x="4466592" y="4669163"/>
          <a:ext cx="2449935" cy="1188720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489987"/>
                <a:gridCol w="489987"/>
                <a:gridCol w="489987"/>
                <a:gridCol w="489987"/>
                <a:gridCol w="489987"/>
              </a:tblGrid>
              <a:tr h="380919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5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6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7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8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9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9" name="Inhaltsplatzhalter 22">
            <a:extLst>
              <a:ext uri="{FF2B5EF4-FFF2-40B4-BE49-F238E27FC236}">
                <a16:creationId xmlns:a16="http://schemas.microsoft.com/office/drawing/2014/main" xmlns="" id="{9BDEAEEF-B3AF-4E25-860D-E6E06271F7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8663152" cy="4644000"/>
          </a:xfrm>
        </p:spPr>
        <p:txBody>
          <a:bodyPr numCol="2"/>
          <a:lstStyle/>
          <a:p>
            <a:pPr marL="298350" indent="-285750">
              <a:buFont typeface="Arial" charset="0"/>
              <a:buChar char="•"/>
            </a:pPr>
            <a:r>
              <a:rPr lang="de-DE" i="1" dirty="0" smtClean="0"/>
              <a:t>In 1D</a:t>
            </a:r>
          </a:p>
          <a:p>
            <a:pPr marL="501750" lvl="1" indent="-285750">
              <a:buFont typeface="Arial" charset="0"/>
              <a:buChar char="•"/>
            </a:pPr>
            <a:r>
              <a:rPr lang="de-DE" i="1" dirty="0" smtClean="0">
                <a:latin typeface="Courier New" charset="0"/>
                <a:ea typeface="Courier New" charset="0"/>
                <a:cs typeface="Courier New" charset="0"/>
              </a:rPr>
              <a:t>V1[1:3</a:t>
            </a:r>
            <a:r>
              <a:rPr lang="de-DE" i="1" dirty="0" smtClean="0">
                <a:latin typeface="Courier New" charset="0"/>
                <a:ea typeface="Courier New" charset="0"/>
                <a:cs typeface="Courier New" charset="0"/>
              </a:rPr>
              <a:t>] = 1,2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i="1" dirty="0" smtClean="0"/>
              <a:t>Inclusive : exclusive</a:t>
            </a:r>
          </a:p>
          <a:p>
            <a:pPr marL="298350" indent="-285750">
              <a:buFont typeface="Arial" charset="0"/>
              <a:buChar char="•"/>
            </a:pPr>
            <a:r>
              <a:rPr lang="de-DE" i="1" dirty="0" smtClean="0"/>
              <a:t>In </a:t>
            </a:r>
            <a:r>
              <a:rPr lang="de-DE" i="1" dirty="0" smtClean="0"/>
              <a:t>2D (</a:t>
            </a:r>
            <a:r>
              <a:rPr lang="de-DE" i="1" dirty="0" err="1" smtClean="0"/>
              <a:t>k,j</a:t>
            </a:r>
            <a:r>
              <a:rPr lang="de-DE" i="1" dirty="0" smtClean="0"/>
              <a:t>)</a:t>
            </a:r>
            <a:endParaRPr lang="de-DE" i="1" dirty="0"/>
          </a:p>
          <a:p>
            <a:pPr marL="501750" lvl="1" indent="-285750">
              <a:buFont typeface="Arial" charset="0"/>
              <a:buChar char="•"/>
            </a:pPr>
            <a:r>
              <a:rPr lang="de-DE" i="1" dirty="0" smtClean="0">
                <a:latin typeface="Courier New" charset="0"/>
                <a:ea typeface="Courier New" charset="0"/>
                <a:cs typeface="Courier New" charset="0"/>
              </a:rPr>
              <a:t>V2[1</a:t>
            </a:r>
            <a:r>
              <a:rPr lang="de-DE" i="1" dirty="0" smtClean="0">
                <a:latin typeface="Courier New" charset="0"/>
                <a:ea typeface="Courier New" charset="0"/>
                <a:cs typeface="Courier New" charset="0"/>
              </a:rPr>
              <a:t>:,1:2] = </a:t>
            </a:r>
            <a:r>
              <a:rPr lang="de-DE" i="1" dirty="0" smtClean="0">
                <a:latin typeface="Courier New" charset="0"/>
                <a:ea typeface="Courier New" charset="0"/>
                <a:cs typeface="Courier New" charset="0"/>
              </a:rPr>
              <a:t>([[6],[11]])</a:t>
            </a:r>
            <a:endParaRPr lang="de-DE" i="1" dirty="0">
              <a:latin typeface="Courier New" charset="0"/>
              <a:ea typeface="Courier New" charset="0"/>
              <a:cs typeface="Courier New" charset="0"/>
            </a:endParaRPr>
          </a:p>
          <a:p>
            <a:pPr marL="298350" indent="-285750">
              <a:buFont typeface="Arial" charset="0"/>
              <a:buChar char="•"/>
            </a:pPr>
            <a:r>
              <a:rPr lang="de-DE" i="1" dirty="0" smtClean="0"/>
              <a:t>In </a:t>
            </a:r>
            <a:r>
              <a:rPr lang="de-DE" i="1" dirty="0" smtClean="0"/>
              <a:t>3D (</a:t>
            </a:r>
            <a:r>
              <a:rPr lang="de-DE" i="1" dirty="0" err="1" smtClean="0"/>
              <a:t>i,j,k</a:t>
            </a:r>
            <a:r>
              <a:rPr lang="de-DE" i="1" dirty="0" smtClean="0"/>
              <a:t>)</a:t>
            </a:r>
            <a:endParaRPr lang="de-DE" i="1" dirty="0" smtClean="0"/>
          </a:p>
          <a:p>
            <a:pPr marL="501750" lvl="1" indent="-285750">
              <a:buFont typeface="Arial" charset="0"/>
              <a:buChar char="•"/>
            </a:pPr>
            <a:r>
              <a:rPr lang="de-DE" i="1" dirty="0" smtClean="0">
                <a:latin typeface="Courier New" charset="0"/>
                <a:ea typeface="Courier New" charset="0"/>
                <a:cs typeface="Courier New" charset="0"/>
              </a:rPr>
              <a:t>V3[1:3,:,:</a:t>
            </a:r>
            <a:r>
              <a:rPr lang="de-DE" i="1" dirty="0" smtClean="0">
                <a:latin typeface="Courier New" charset="0"/>
                <a:ea typeface="Courier New" charset="0"/>
                <a:cs typeface="Courier New" charset="0"/>
              </a:rPr>
              <a:t>2</a:t>
            </a:r>
            <a:r>
              <a:rPr lang="de-DE" i="1" dirty="0" smtClean="0">
                <a:latin typeface="Courier New" charset="0"/>
                <a:ea typeface="Courier New" charset="0"/>
                <a:cs typeface="Courier New" charset="0"/>
              </a:rPr>
              <a:t>] </a:t>
            </a:r>
            <a:r>
              <a:rPr lang="en-GB" i="1" dirty="0">
                <a:latin typeface="Courier New" charset="0"/>
                <a:ea typeface="Courier New" charset="0"/>
                <a:cs typeface="Courier New" charset="0"/>
              </a:rPr>
              <a:t>=</a:t>
            </a:r>
            <a:endParaRPr lang="de-DE" i="1" dirty="0" smtClean="0">
              <a:latin typeface="Courier New" charset="0"/>
              <a:ea typeface="Courier New" charset="0"/>
              <a:cs typeface="Courier New" charset="0"/>
            </a:endParaRPr>
          </a:p>
        </p:txBody>
      </p:sp>
      <p:sp>
        <p:nvSpPr>
          <p:cNvPr id="22" name="Titel 21">
            <a:extLst>
              <a:ext uri="{FF2B5EF4-FFF2-40B4-BE49-F238E27FC236}">
                <a16:creationId xmlns:a16="http://schemas.microsoft.com/office/drawing/2014/main" xmlns="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NumPy</a:t>
            </a:r>
            <a:endParaRPr lang="de-DE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xmlns="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 smtClean="0"/>
              <a:t>Slicing</a:t>
            </a:r>
            <a:r>
              <a:rPr lang="de-DE" dirty="0" smtClean="0"/>
              <a:t> </a:t>
            </a:r>
            <a:r>
              <a:rPr lang="de-DE" dirty="0" err="1" smtClean="0"/>
              <a:t>arrays</a:t>
            </a:r>
            <a:endParaRPr lang="de-DE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xmlns="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3</a:t>
            </a:fld>
            <a:endParaRPr lang="de-DE" dirty="0"/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7454852"/>
              </p:ext>
            </p:extLst>
          </p:nvPr>
        </p:nvGraphicFramePr>
        <p:xfrm>
          <a:off x="8181064" y="1613668"/>
          <a:ext cx="2369705" cy="426148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473941"/>
                <a:gridCol w="473941"/>
                <a:gridCol w="473941"/>
                <a:gridCol w="473941"/>
                <a:gridCol w="473941"/>
              </a:tblGrid>
              <a:tr h="426148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3406682"/>
              </p:ext>
            </p:extLst>
          </p:nvPr>
        </p:nvGraphicFramePr>
        <p:xfrm>
          <a:off x="8181063" y="2334358"/>
          <a:ext cx="2431069" cy="1188720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473941"/>
                <a:gridCol w="473941"/>
                <a:gridCol w="473941"/>
                <a:gridCol w="535305"/>
                <a:gridCol w="473941"/>
              </a:tblGrid>
              <a:tr h="380919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5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6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7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8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9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0241607"/>
              </p:ext>
            </p:extLst>
          </p:nvPr>
        </p:nvGraphicFramePr>
        <p:xfrm>
          <a:off x="9531778" y="3883904"/>
          <a:ext cx="2449935" cy="1188720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489987"/>
                <a:gridCol w="489987"/>
                <a:gridCol w="489987"/>
                <a:gridCol w="489987"/>
                <a:gridCol w="489987"/>
              </a:tblGrid>
              <a:tr h="380919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5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6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7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8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9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3" name="Straight Arrow Connector 2"/>
          <p:cNvCxnSpPr/>
          <p:nvPr/>
        </p:nvCxnSpPr>
        <p:spPr>
          <a:xfrm>
            <a:off x="4288510" y="4689386"/>
            <a:ext cx="0" cy="11496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5258015" y="4461561"/>
            <a:ext cx="967417" cy="64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V="1">
            <a:off x="8145508" y="5457543"/>
            <a:ext cx="2644412" cy="6623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815212" y="5057835"/>
            <a:ext cx="382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smtClean="0"/>
              <a:t>j</a:t>
            </a:r>
            <a:endParaRPr lang="en-GB" i="1"/>
          </a:p>
        </p:txBody>
      </p:sp>
      <p:sp>
        <p:nvSpPr>
          <p:cNvPr id="26" name="TextBox 25"/>
          <p:cNvSpPr txBox="1"/>
          <p:nvPr/>
        </p:nvSpPr>
        <p:spPr>
          <a:xfrm>
            <a:off x="5550445" y="4010633"/>
            <a:ext cx="382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/>
              <a:t>k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9318733" y="5803916"/>
            <a:ext cx="382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 smtClean="0"/>
              <a:t>i</a:t>
            </a:r>
            <a:endParaRPr lang="en-GB" i="1" dirty="0"/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6829957"/>
              </p:ext>
            </p:extLst>
          </p:nvPr>
        </p:nvGraphicFramePr>
        <p:xfrm>
          <a:off x="7007529" y="4258403"/>
          <a:ext cx="2449935" cy="1188720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489987"/>
                <a:gridCol w="489987"/>
                <a:gridCol w="489987"/>
                <a:gridCol w="489987"/>
                <a:gridCol w="489987"/>
              </a:tblGrid>
              <a:tr h="380919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5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6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7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8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9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4777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2">
            <a:extLst>
              <a:ext uri="{FF2B5EF4-FFF2-40B4-BE49-F238E27FC236}">
                <a16:creationId xmlns:a16="http://schemas.microsoft.com/office/drawing/2014/main" xmlns="" id="{9BDEAEEF-B3AF-4E25-860D-E6E06271F7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8663152" cy="4644000"/>
          </a:xfrm>
        </p:spPr>
        <p:txBody>
          <a:bodyPr numCol="1"/>
          <a:lstStyle/>
          <a:p>
            <a:pPr marL="298350" indent="-285750">
              <a:buFont typeface="Arial" charset="0"/>
              <a:buChar char="•"/>
            </a:pPr>
            <a:r>
              <a:rPr lang="de-DE" i="1" dirty="0" err="1" smtClean="0"/>
              <a:t>Comparison</a:t>
            </a:r>
            <a:r>
              <a:rPr lang="de-DE" i="1" dirty="0" smtClean="0"/>
              <a:t>: &lt;, &lt;=, ==, !-, &gt;=, &gt;</a:t>
            </a:r>
          </a:p>
          <a:p>
            <a:pPr marL="298350" indent="-285750">
              <a:buFont typeface="Arial" charset="0"/>
              <a:buChar char="•"/>
            </a:pPr>
            <a:r>
              <a:rPr lang="de-DE" i="1" dirty="0" err="1" smtClean="0"/>
              <a:t>Arithmetic</a:t>
            </a:r>
            <a:r>
              <a:rPr lang="de-DE" i="1" dirty="0" smtClean="0"/>
              <a:t>: +, -, *, /, </a:t>
            </a:r>
            <a:r>
              <a:rPr lang="de-DE" i="1" dirty="0" err="1" smtClean="0"/>
              <a:t>recirocal</a:t>
            </a:r>
            <a:r>
              <a:rPr lang="de-DE" i="1" dirty="0" smtClean="0"/>
              <a:t>, </a:t>
            </a:r>
            <a:r>
              <a:rPr lang="de-DE" i="1" dirty="0" err="1" smtClean="0"/>
              <a:t>square</a:t>
            </a:r>
            <a:endParaRPr lang="de-DE" i="1" dirty="0" smtClean="0"/>
          </a:p>
          <a:p>
            <a:pPr marL="298350" indent="-285750">
              <a:buFont typeface="Arial" charset="0"/>
              <a:buChar char="•"/>
            </a:pPr>
            <a:r>
              <a:rPr lang="de-DE" i="1" dirty="0" err="1" smtClean="0"/>
              <a:t>Exponetial</a:t>
            </a:r>
            <a:r>
              <a:rPr lang="de-DE" i="1" dirty="0" smtClean="0"/>
              <a:t>: </a:t>
            </a:r>
            <a:r>
              <a:rPr lang="de-DE" i="1" dirty="0" err="1" smtClean="0"/>
              <a:t>exp</a:t>
            </a:r>
            <a:r>
              <a:rPr lang="de-DE" i="1" dirty="0" smtClean="0"/>
              <a:t>, </a:t>
            </a:r>
            <a:r>
              <a:rPr lang="de-DE" i="1" dirty="0" err="1" smtClean="0"/>
              <a:t>expml</a:t>
            </a:r>
            <a:r>
              <a:rPr lang="de-DE" i="1" dirty="0" smtClean="0"/>
              <a:t>, exp2, log, log10, log1p, log2, power, </a:t>
            </a:r>
            <a:r>
              <a:rPr lang="de-DE" i="1" dirty="0" err="1" smtClean="0"/>
              <a:t>sqrt</a:t>
            </a:r>
            <a:endParaRPr lang="de-DE" i="1" dirty="0" smtClean="0"/>
          </a:p>
          <a:p>
            <a:pPr marL="298350" indent="-285750">
              <a:buFont typeface="Arial" charset="0"/>
              <a:buChar char="•"/>
            </a:pPr>
            <a:r>
              <a:rPr lang="de-DE" i="1" dirty="0" err="1" smtClean="0"/>
              <a:t>Trigonometric</a:t>
            </a:r>
            <a:r>
              <a:rPr lang="de-DE" i="1" dirty="0" smtClean="0"/>
              <a:t>: sin, cos, tan, </a:t>
            </a:r>
            <a:r>
              <a:rPr lang="de-DE" i="1" dirty="0" err="1" smtClean="0"/>
              <a:t>acsin</a:t>
            </a:r>
            <a:r>
              <a:rPr lang="de-DE" i="1" dirty="0" smtClean="0"/>
              <a:t>, </a:t>
            </a:r>
            <a:r>
              <a:rPr lang="de-DE" i="1" dirty="0" err="1" smtClean="0"/>
              <a:t>arccos</a:t>
            </a:r>
            <a:r>
              <a:rPr lang="de-DE" i="1" dirty="0" smtClean="0"/>
              <a:t>, </a:t>
            </a:r>
            <a:r>
              <a:rPr lang="de-DE" i="1" dirty="0" err="1" smtClean="0"/>
              <a:t>atctan</a:t>
            </a:r>
            <a:r>
              <a:rPr lang="de-DE" i="1" dirty="0" smtClean="0"/>
              <a:t> </a:t>
            </a:r>
          </a:p>
          <a:p>
            <a:pPr marL="298350" indent="-285750">
              <a:buFont typeface="Arial" charset="0"/>
              <a:buChar char="•"/>
            </a:pPr>
            <a:r>
              <a:rPr lang="de-DE" i="1" dirty="0" err="1" smtClean="0"/>
              <a:t>Hyperbolic</a:t>
            </a:r>
            <a:r>
              <a:rPr lang="de-DE" i="1" dirty="0" smtClean="0"/>
              <a:t>: </a:t>
            </a:r>
            <a:r>
              <a:rPr lang="de-DE" i="1" dirty="0" err="1" smtClean="0"/>
              <a:t>sinh</a:t>
            </a:r>
            <a:r>
              <a:rPr lang="de-DE" i="1" dirty="0" smtClean="0"/>
              <a:t>, </a:t>
            </a:r>
            <a:r>
              <a:rPr lang="de-DE" i="1" dirty="0" err="1" smtClean="0"/>
              <a:t>cosh</a:t>
            </a:r>
            <a:r>
              <a:rPr lang="de-DE" i="1" dirty="0" smtClean="0"/>
              <a:t>, </a:t>
            </a:r>
            <a:r>
              <a:rPr lang="de-DE" i="1" dirty="0" err="1" smtClean="0"/>
              <a:t>tang</a:t>
            </a:r>
            <a:r>
              <a:rPr lang="de-DE" i="1" dirty="0" smtClean="0"/>
              <a:t>, </a:t>
            </a:r>
            <a:r>
              <a:rPr lang="de-DE" i="1" dirty="0" err="1" smtClean="0"/>
              <a:t>acsing</a:t>
            </a:r>
            <a:r>
              <a:rPr lang="de-DE" i="1" dirty="0" smtClean="0"/>
              <a:t>, </a:t>
            </a:r>
            <a:r>
              <a:rPr lang="de-DE" i="1" dirty="0" err="1" smtClean="0"/>
              <a:t>arcosh</a:t>
            </a:r>
            <a:r>
              <a:rPr lang="de-DE" i="1" dirty="0" smtClean="0"/>
              <a:t>, </a:t>
            </a:r>
            <a:r>
              <a:rPr lang="de-DE" i="1" dirty="0" err="1" smtClean="0"/>
              <a:t>atctanh</a:t>
            </a:r>
            <a:endParaRPr lang="de-DE" i="1" dirty="0" smtClean="0"/>
          </a:p>
          <a:p>
            <a:pPr marL="298350" indent="-285750">
              <a:buFont typeface="Arial" charset="0"/>
              <a:buChar char="•"/>
            </a:pPr>
            <a:r>
              <a:rPr lang="de-DE" i="1" dirty="0" err="1" smtClean="0"/>
              <a:t>Bitwise</a:t>
            </a:r>
            <a:r>
              <a:rPr lang="de-DE" i="1" dirty="0" smtClean="0"/>
              <a:t> </a:t>
            </a:r>
            <a:r>
              <a:rPr lang="de-DE" i="1" dirty="0" err="1" smtClean="0"/>
              <a:t>operations</a:t>
            </a:r>
            <a:r>
              <a:rPr lang="de-DE" i="1" dirty="0" smtClean="0"/>
              <a:t>: &amp;, |, </a:t>
            </a:r>
            <a:r>
              <a:rPr lang="en-US" dirty="0" smtClean="0"/>
              <a:t>~, </a:t>
            </a:r>
            <a:r>
              <a:rPr lang="en-US" dirty="0" err="1" smtClean="0"/>
              <a:t>left_shit</a:t>
            </a:r>
            <a:r>
              <a:rPr lang="en-US" dirty="0" smtClean="0"/>
              <a:t>, </a:t>
            </a:r>
            <a:r>
              <a:rPr lang="en-US" dirty="0" err="1" smtClean="0"/>
              <a:t>right_shift</a:t>
            </a:r>
            <a:endParaRPr lang="en-US" dirty="0" smtClean="0"/>
          </a:p>
          <a:p>
            <a:pPr marL="298350" indent="-285750">
              <a:buFont typeface="Arial" charset="0"/>
              <a:buChar char="•"/>
            </a:pPr>
            <a:r>
              <a:rPr lang="en-US" i="1" dirty="0" smtClean="0"/>
              <a:t>Logical operations: and, </a:t>
            </a:r>
            <a:r>
              <a:rPr lang="en-US" i="1" dirty="0" err="1" smtClean="0"/>
              <a:t>logical_xor</a:t>
            </a:r>
            <a:r>
              <a:rPr lang="en-US" i="1" dirty="0" smtClean="0"/>
              <a:t>, not, or</a:t>
            </a:r>
          </a:p>
          <a:p>
            <a:pPr marL="298350" indent="-285750">
              <a:buFont typeface="Arial" charset="0"/>
              <a:buChar char="•"/>
            </a:pPr>
            <a:r>
              <a:rPr lang="en-US" i="1" dirty="0" err="1" smtClean="0"/>
              <a:t>Preidcates</a:t>
            </a:r>
            <a:r>
              <a:rPr lang="en-US" i="1" dirty="0" smtClean="0"/>
              <a:t>, </a:t>
            </a:r>
            <a:r>
              <a:rPr lang="en-US" i="1" dirty="0" err="1" smtClean="0"/>
              <a:t>isfinite</a:t>
            </a:r>
            <a:r>
              <a:rPr lang="en-US" i="1" dirty="0" smtClean="0"/>
              <a:t>, </a:t>
            </a:r>
            <a:r>
              <a:rPr lang="en-US" i="1" dirty="0" err="1" smtClean="0"/>
              <a:t>isinf</a:t>
            </a:r>
            <a:r>
              <a:rPr lang="en-US" i="1" dirty="0" smtClean="0"/>
              <a:t>, </a:t>
            </a:r>
            <a:r>
              <a:rPr lang="en-US" i="1" dirty="0" err="1" smtClean="0"/>
              <a:t>isnan</a:t>
            </a:r>
            <a:r>
              <a:rPr lang="en-US" i="1" dirty="0" smtClean="0"/>
              <a:t>, </a:t>
            </a:r>
            <a:r>
              <a:rPr lang="en-US" i="1" dirty="0" err="1" smtClean="0"/>
              <a:t>signbit</a:t>
            </a:r>
            <a:endParaRPr lang="en-US" i="1" dirty="0" smtClean="0"/>
          </a:p>
          <a:p>
            <a:pPr marL="298350" indent="-285750">
              <a:buFont typeface="Arial" charset="0"/>
              <a:buChar char="•"/>
            </a:pPr>
            <a:r>
              <a:rPr lang="en-US" i="1" dirty="0" smtClean="0"/>
              <a:t>Other: abs, ceil, floor, mod, </a:t>
            </a:r>
            <a:r>
              <a:rPr lang="en-US" i="1" dirty="0" err="1" smtClean="0"/>
              <a:t>modf</a:t>
            </a:r>
            <a:r>
              <a:rPr lang="en-US" i="1" dirty="0" smtClean="0"/>
              <a:t>, round, </a:t>
            </a:r>
            <a:r>
              <a:rPr lang="en-US" i="1" dirty="0" err="1" smtClean="0"/>
              <a:t>sinc</a:t>
            </a:r>
            <a:r>
              <a:rPr lang="en-US" i="1" dirty="0" smtClean="0"/>
              <a:t>, sign, </a:t>
            </a:r>
            <a:r>
              <a:rPr lang="en-US" i="1" dirty="0" err="1" smtClean="0"/>
              <a:t>trunc</a:t>
            </a:r>
            <a:r>
              <a:rPr lang="de-DE" i="1" dirty="0" smtClean="0"/>
              <a:t> </a:t>
            </a:r>
          </a:p>
        </p:txBody>
      </p:sp>
      <p:sp>
        <p:nvSpPr>
          <p:cNvPr id="22" name="Titel 21">
            <a:extLst>
              <a:ext uri="{FF2B5EF4-FFF2-40B4-BE49-F238E27FC236}">
                <a16:creationId xmlns:a16="http://schemas.microsoft.com/office/drawing/2014/main" xmlns="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NumPy</a:t>
            </a:r>
            <a:endParaRPr lang="de-DE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xmlns="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smtClean="0"/>
              <a:t>Universal </a:t>
            </a:r>
            <a:r>
              <a:rPr lang="de-DE" dirty="0" err="1" smtClean="0"/>
              <a:t>functions</a:t>
            </a:r>
            <a:r>
              <a:rPr lang="de-DE" dirty="0" smtClean="0"/>
              <a:t> (</a:t>
            </a:r>
            <a:r>
              <a:rPr lang="de-DE" dirty="0" err="1" smtClean="0"/>
              <a:t>ufuncs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xmlns="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4</a:t>
            </a:fld>
            <a:endParaRPr lang="de-DE" dirty="0"/>
          </a:p>
        </p:txBody>
      </p:sp>
      <p:graphicFrame>
        <p:nvGraphicFramePr>
          <p:cNvPr id="28" name="Table 27"/>
          <p:cNvGraphicFramePr>
            <a:graphicFrameLocks noGrp="1"/>
          </p:cNvGraphicFramePr>
          <p:nvPr/>
        </p:nvGraphicFramePr>
        <p:xfrm>
          <a:off x="8181064" y="1613668"/>
          <a:ext cx="2369705" cy="426148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473941"/>
                <a:gridCol w="473941"/>
                <a:gridCol w="473941"/>
                <a:gridCol w="473941"/>
                <a:gridCol w="473941"/>
              </a:tblGrid>
              <a:tr h="426148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DA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9" name="Table 28"/>
          <p:cNvGraphicFramePr>
            <a:graphicFrameLocks noGrp="1"/>
          </p:cNvGraphicFramePr>
          <p:nvPr/>
        </p:nvGraphicFramePr>
        <p:xfrm>
          <a:off x="8198298" y="2222209"/>
          <a:ext cx="2369705" cy="426148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473941"/>
                <a:gridCol w="473941"/>
                <a:gridCol w="473941"/>
                <a:gridCol w="473941"/>
                <a:gridCol w="473941"/>
              </a:tblGrid>
              <a:tr h="426148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DA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0" name="Table 29"/>
          <p:cNvGraphicFramePr>
            <a:graphicFrameLocks noGrp="1"/>
          </p:cNvGraphicFramePr>
          <p:nvPr/>
        </p:nvGraphicFramePr>
        <p:xfrm>
          <a:off x="8198298" y="2930361"/>
          <a:ext cx="2369705" cy="426148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473941"/>
                <a:gridCol w="473941"/>
                <a:gridCol w="473941"/>
                <a:gridCol w="473941"/>
                <a:gridCol w="473941"/>
              </a:tblGrid>
              <a:tr h="426148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7DAF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6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8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7675149" y="1642076"/>
            <a:ext cx="382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/>
              <a:t>a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675149" y="2250617"/>
            <a:ext cx="382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/>
              <a:t>b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675149" y="2956140"/>
            <a:ext cx="382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/>
              <a:t>c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0922441" y="2282656"/>
            <a:ext cx="1269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/>
              <a:t>c</a:t>
            </a:r>
            <a:r>
              <a:rPr lang="en-GB" i="1" dirty="0" smtClean="0"/>
              <a:t> = a + b</a:t>
            </a:r>
            <a:endParaRPr lang="en-GB" i="1" dirty="0"/>
          </a:p>
        </p:txBody>
      </p:sp>
    </p:spTree>
    <p:extLst>
      <p:ext uri="{BB962C8B-B14F-4D97-AF65-F5344CB8AC3E}">
        <p14:creationId xmlns:p14="http://schemas.microsoft.com/office/powerpoint/2010/main" val="853313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2">
            <a:extLst>
              <a:ext uri="{FF2B5EF4-FFF2-40B4-BE49-F238E27FC236}">
                <a16:creationId xmlns:a16="http://schemas.microsoft.com/office/drawing/2014/main" xmlns="" id="{9BDEAEEF-B3AF-4E25-860D-E6E06271F7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6600712" cy="4644000"/>
          </a:xfrm>
        </p:spPr>
        <p:txBody>
          <a:bodyPr numCol="1"/>
          <a:lstStyle/>
          <a:p>
            <a:pPr marL="298350" indent="-285750">
              <a:buFont typeface="Arial" charset="0"/>
              <a:buChar char="•"/>
            </a:pPr>
            <a:r>
              <a:rPr lang="en-GB" i="1" dirty="0" smtClean="0"/>
              <a:t>Arrays with different, but compatible shapes can be used as arguments to </a:t>
            </a:r>
            <a:r>
              <a:rPr lang="en-GB" i="1" dirty="0" err="1" smtClean="0"/>
              <a:t>ufuncs</a:t>
            </a:r>
            <a:endParaRPr lang="en-GB" i="1" dirty="0" smtClean="0"/>
          </a:p>
          <a:p>
            <a:pPr marL="501750" lvl="1" indent="-285750">
              <a:buFont typeface="Arial" charset="0"/>
              <a:buChar char="•"/>
            </a:pP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c = a + 10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i="1" dirty="0" smtClean="0"/>
              <a:t>Array scalar is broadcast to an array with shape (5,)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f = d + e 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i="1" dirty="0" smtClean="0"/>
              <a:t>Array of shape (3,1) is broadcast to an array of shape (3,3)</a:t>
            </a:r>
          </a:p>
          <a:p>
            <a:pPr marL="501750" lvl="1" indent="-285750">
              <a:buFont typeface="Arial" charset="0"/>
              <a:buChar char="•"/>
            </a:pPr>
            <a:endParaRPr lang="en-GB" i="1" dirty="0" smtClean="0"/>
          </a:p>
          <a:p>
            <a:pPr marL="298350" indent="-285750">
              <a:buFont typeface="Arial" charset="0"/>
              <a:buChar char="•"/>
            </a:pPr>
            <a:endParaRPr lang="de-DE" i="1" dirty="0" smtClean="0"/>
          </a:p>
        </p:txBody>
      </p:sp>
      <p:sp>
        <p:nvSpPr>
          <p:cNvPr id="22" name="Titel 21">
            <a:extLst>
              <a:ext uri="{FF2B5EF4-FFF2-40B4-BE49-F238E27FC236}">
                <a16:creationId xmlns:a16="http://schemas.microsoft.com/office/drawing/2014/main" xmlns="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NumPy</a:t>
            </a:r>
            <a:endParaRPr lang="de-DE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xmlns="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smtClean="0"/>
              <a:t>Broadcasting</a:t>
            </a:r>
            <a:endParaRPr lang="de-DE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xmlns="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5</a:t>
            </a:fld>
            <a:endParaRPr lang="de-DE" dirty="0"/>
          </a:p>
        </p:txBody>
      </p:sp>
      <p:graphicFrame>
        <p:nvGraphicFramePr>
          <p:cNvPr id="28" name="Table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865224"/>
              </p:ext>
            </p:extLst>
          </p:nvPr>
        </p:nvGraphicFramePr>
        <p:xfrm>
          <a:off x="8181064" y="1613668"/>
          <a:ext cx="2369705" cy="426148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473941"/>
                <a:gridCol w="473941"/>
                <a:gridCol w="473941"/>
                <a:gridCol w="473941"/>
                <a:gridCol w="473941"/>
              </a:tblGrid>
              <a:tr h="426148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9" name="Table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5960573"/>
              </p:ext>
            </p:extLst>
          </p:nvPr>
        </p:nvGraphicFramePr>
        <p:xfrm>
          <a:off x="8198298" y="2222209"/>
          <a:ext cx="2369705" cy="426148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473941"/>
                <a:gridCol w="473941"/>
                <a:gridCol w="473941"/>
                <a:gridCol w="473941"/>
                <a:gridCol w="473941"/>
              </a:tblGrid>
              <a:tr h="426148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0" name="Table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7172768"/>
              </p:ext>
            </p:extLst>
          </p:nvPr>
        </p:nvGraphicFramePr>
        <p:xfrm>
          <a:off x="8198298" y="2930361"/>
          <a:ext cx="2369705" cy="426148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473941"/>
                <a:gridCol w="473941"/>
                <a:gridCol w="473941"/>
                <a:gridCol w="473941"/>
                <a:gridCol w="473941"/>
              </a:tblGrid>
              <a:tr h="426148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7675149" y="1642076"/>
            <a:ext cx="382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/>
              <a:t>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675149" y="2956140"/>
            <a:ext cx="382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/>
              <a:t>c</a:t>
            </a:r>
          </a:p>
        </p:txBody>
      </p:sp>
      <p:graphicFrame>
        <p:nvGraphicFramePr>
          <p:cNvPr id="35" name="Table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917839"/>
              </p:ext>
            </p:extLst>
          </p:nvPr>
        </p:nvGraphicFramePr>
        <p:xfrm>
          <a:off x="7962071" y="3803689"/>
          <a:ext cx="1421823" cy="1188720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473941"/>
                <a:gridCol w="473941"/>
                <a:gridCol w="473941"/>
              </a:tblGrid>
              <a:tr h="380919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5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6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7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8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36" name="Table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9946852"/>
              </p:ext>
            </p:extLst>
          </p:nvPr>
        </p:nvGraphicFramePr>
        <p:xfrm>
          <a:off x="7962071" y="5199197"/>
          <a:ext cx="473941" cy="1204375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473941"/>
              </a:tblGrid>
              <a:tr h="411895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37" name="Table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2165512"/>
              </p:ext>
            </p:extLst>
          </p:nvPr>
        </p:nvGraphicFramePr>
        <p:xfrm>
          <a:off x="9962105" y="4628304"/>
          <a:ext cx="1421823" cy="1188720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473941"/>
                <a:gridCol w="473941"/>
                <a:gridCol w="473941"/>
              </a:tblGrid>
              <a:tr h="380919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5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6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7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68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9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0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1</a:t>
                      </a:r>
                      <a:endParaRPr lang="en-GB" sz="2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8" name="TextBox 37"/>
          <p:cNvSpPr txBox="1"/>
          <p:nvPr/>
        </p:nvSpPr>
        <p:spPr>
          <a:xfrm>
            <a:off x="7562365" y="4213383"/>
            <a:ext cx="382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/>
              <a:t>d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7562364" y="5567689"/>
            <a:ext cx="382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/>
              <a:t>e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9635382" y="5037998"/>
            <a:ext cx="382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/>
              <a:t>f</a:t>
            </a:r>
          </a:p>
        </p:txBody>
      </p:sp>
    </p:spTree>
    <p:extLst>
      <p:ext uri="{BB962C8B-B14F-4D97-AF65-F5344CB8AC3E}">
        <p14:creationId xmlns:p14="http://schemas.microsoft.com/office/powerpoint/2010/main" val="458798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2">
            <a:extLst>
              <a:ext uri="{FF2B5EF4-FFF2-40B4-BE49-F238E27FC236}">
                <a16:creationId xmlns:a16="http://schemas.microsoft.com/office/drawing/2014/main" xmlns="" id="{9BDEAEEF-B3AF-4E25-860D-E6E06271F7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10753200" cy="4644000"/>
          </a:xfrm>
        </p:spPr>
        <p:txBody>
          <a:bodyPr/>
          <a:lstStyle/>
          <a:p>
            <a:pPr marL="298350" indent="-285750">
              <a:buFont typeface="Arial" charset="0"/>
              <a:buChar char="•"/>
            </a:pPr>
            <a:r>
              <a:rPr lang="en-GB" dirty="0" smtClean="0">
                <a:ea typeface="Courier New" charset="0"/>
                <a:cs typeface="Courier New" charset="0"/>
              </a:rPr>
              <a:t>Typically the human brain is more easily able to process information in a graphical form.</a:t>
            </a:r>
          </a:p>
          <a:p>
            <a:pPr marL="298350" indent="-285750">
              <a:buFont typeface="Arial" charset="0"/>
              <a:buChar char="•"/>
            </a:pPr>
            <a:r>
              <a:rPr lang="en-GB" dirty="0" smtClean="0">
                <a:ea typeface="Courier New" charset="0"/>
                <a:cs typeface="Courier New" charset="0"/>
              </a:rPr>
              <a:t>Visualisation for a fast and comparable interpretation of variables</a:t>
            </a:r>
          </a:p>
          <a:p>
            <a:pPr marL="298350" indent="-285750">
              <a:buFont typeface="Arial" charset="0"/>
              <a:buChar char="•"/>
            </a:pPr>
            <a:endParaRPr lang="de-DE" dirty="0" smtClean="0"/>
          </a:p>
        </p:txBody>
      </p:sp>
      <p:sp>
        <p:nvSpPr>
          <p:cNvPr id="22" name="Titel 21">
            <a:extLst>
              <a:ext uri="{FF2B5EF4-FFF2-40B4-BE49-F238E27FC236}">
                <a16:creationId xmlns:a16="http://schemas.microsoft.com/office/drawing/2014/main" xmlns="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Matplotlib</a:t>
            </a:r>
            <a:endParaRPr lang="de-DE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xmlns="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 dirty="0" smtClean="0"/>
              <a:t>Why</a:t>
            </a:r>
            <a:r>
              <a:rPr lang="de-DE" dirty="0" smtClean="0"/>
              <a:t> Data </a:t>
            </a:r>
            <a:r>
              <a:rPr lang="en-GB" dirty="0" smtClean="0"/>
              <a:t>Visualisation</a:t>
            </a:r>
            <a:r>
              <a:rPr lang="de-DE" dirty="0" smtClean="0"/>
              <a:t> ?</a:t>
            </a:r>
            <a:endParaRPr lang="de-DE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xmlns="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6</a:t>
            </a:fld>
            <a:endParaRPr lang="de-D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8425" y="2895403"/>
            <a:ext cx="3145837" cy="2359378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982351" y="2469656"/>
            <a:ext cx="6555544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00" dirty="0" smtClean="0">
                <a:latin typeface="Monaco" charset="0"/>
              </a:rPr>
              <a:t>X</a:t>
            </a:r>
            <a:r>
              <a:rPr lang="is-IS" sz="500" dirty="0" smtClean="0">
                <a:latin typeface="Monaco" charset="0"/>
              </a:rPr>
              <a:t> = array</a:t>
            </a:r>
            <a:r>
              <a:rPr lang="is-IS" sz="500" dirty="0">
                <a:latin typeface="Monaco" charset="0"/>
              </a:rPr>
              <a:t>([[0.21931611],</a:t>
            </a:r>
          </a:p>
          <a:p>
            <a:r>
              <a:rPr lang="is-IS" sz="500" dirty="0">
                <a:latin typeface="Monaco" charset="0"/>
              </a:rPr>
              <a:t>       [0.83822659],</a:t>
            </a:r>
          </a:p>
          <a:p>
            <a:r>
              <a:rPr lang="is-IS" sz="500" dirty="0">
                <a:latin typeface="Monaco" charset="0"/>
              </a:rPr>
              <a:t>       [0.03256711],</a:t>
            </a:r>
          </a:p>
          <a:p>
            <a:r>
              <a:rPr lang="is-IS" sz="500" dirty="0">
                <a:latin typeface="Monaco" charset="0"/>
              </a:rPr>
              <a:t>       [0.96840084],</a:t>
            </a:r>
          </a:p>
          <a:p>
            <a:r>
              <a:rPr lang="is-IS" sz="500" dirty="0">
                <a:latin typeface="Monaco" charset="0"/>
              </a:rPr>
              <a:t>       [0.42651861],</a:t>
            </a:r>
          </a:p>
          <a:p>
            <a:r>
              <a:rPr lang="is-IS" sz="500" dirty="0">
                <a:latin typeface="Monaco" charset="0"/>
              </a:rPr>
              <a:t>       [0.21550177],</a:t>
            </a:r>
          </a:p>
          <a:p>
            <a:r>
              <a:rPr lang="is-IS" sz="500" dirty="0">
                <a:latin typeface="Monaco" charset="0"/>
              </a:rPr>
              <a:t>       [0.70717934],</a:t>
            </a:r>
          </a:p>
          <a:p>
            <a:r>
              <a:rPr lang="is-IS" sz="500" dirty="0">
                <a:latin typeface="Monaco" charset="0"/>
              </a:rPr>
              <a:t>       [0.48524399],</a:t>
            </a:r>
          </a:p>
          <a:p>
            <a:r>
              <a:rPr lang="is-IS" sz="500" dirty="0">
                <a:latin typeface="Monaco" charset="0"/>
              </a:rPr>
              <a:t>       [0.84014719],</a:t>
            </a:r>
          </a:p>
          <a:p>
            <a:r>
              <a:rPr lang="is-IS" sz="500" dirty="0">
                <a:latin typeface="Monaco" charset="0"/>
              </a:rPr>
              <a:t>       [0.2804971 ],</a:t>
            </a:r>
          </a:p>
          <a:p>
            <a:r>
              <a:rPr lang="is-IS" sz="500" dirty="0">
                <a:latin typeface="Monaco" charset="0"/>
              </a:rPr>
              <a:t>       [0.3562661 ],</a:t>
            </a:r>
          </a:p>
          <a:p>
            <a:r>
              <a:rPr lang="is-IS" sz="500" dirty="0">
                <a:latin typeface="Monaco" charset="0"/>
              </a:rPr>
              <a:t>       [0.50785364],</a:t>
            </a:r>
          </a:p>
          <a:p>
            <a:r>
              <a:rPr lang="is-IS" sz="500" dirty="0">
                <a:latin typeface="Monaco" charset="0"/>
              </a:rPr>
              <a:t>       [0.77293316],</a:t>
            </a:r>
          </a:p>
          <a:p>
            <a:r>
              <a:rPr lang="is-IS" sz="500" dirty="0">
                <a:latin typeface="Monaco" charset="0"/>
              </a:rPr>
              <a:t>       [0.47939394],</a:t>
            </a:r>
          </a:p>
          <a:p>
            <a:r>
              <a:rPr lang="is-IS" sz="500" dirty="0">
                <a:latin typeface="Monaco" charset="0"/>
              </a:rPr>
              <a:t>       [0.07281517],</a:t>
            </a:r>
          </a:p>
          <a:p>
            <a:r>
              <a:rPr lang="is-IS" sz="500" dirty="0">
                <a:latin typeface="Monaco" charset="0"/>
              </a:rPr>
              <a:t>       [0.17597196],</a:t>
            </a:r>
          </a:p>
          <a:p>
            <a:r>
              <a:rPr lang="is-IS" sz="500" dirty="0">
                <a:latin typeface="Monaco" charset="0"/>
              </a:rPr>
              <a:t>       [0.90858472],</a:t>
            </a:r>
          </a:p>
          <a:p>
            <a:r>
              <a:rPr lang="is-IS" sz="500" dirty="0">
                <a:latin typeface="Monaco" charset="0"/>
              </a:rPr>
              <a:t>       [0.67431596],</a:t>
            </a:r>
          </a:p>
          <a:p>
            <a:r>
              <a:rPr lang="is-IS" sz="500" dirty="0">
                <a:latin typeface="Monaco" charset="0"/>
              </a:rPr>
              <a:t>       [0.66159206],</a:t>
            </a:r>
          </a:p>
          <a:p>
            <a:r>
              <a:rPr lang="is-IS" sz="500" dirty="0">
                <a:latin typeface="Monaco" charset="0"/>
              </a:rPr>
              <a:t>       [0.26029087],</a:t>
            </a:r>
          </a:p>
          <a:p>
            <a:r>
              <a:rPr lang="is-IS" sz="500" dirty="0">
                <a:latin typeface="Monaco" charset="0"/>
              </a:rPr>
              <a:t>       [0.6893011 ],</a:t>
            </a:r>
          </a:p>
          <a:p>
            <a:r>
              <a:rPr lang="is-IS" sz="500" dirty="0">
                <a:latin typeface="Monaco" charset="0"/>
              </a:rPr>
              <a:t>       [0.50652253],</a:t>
            </a:r>
          </a:p>
          <a:p>
            <a:r>
              <a:rPr lang="is-IS" sz="500" dirty="0">
                <a:latin typeface="Monaco" charset="0"/>
              </a:rPr>
              <a:t>       [0.4325244 ],</a:t>
            </a:r>
          </a:p>
          <a:p>
            <a:r>
              <a:rPr lang="is-IS" sz="500" dirty="0">
                <a:latin typeface="Monaco" charset="0"/>
              </a:rPr>
              <a:t>       [0.86211818],</a:t>
            </a:r>
          </a:p>
          <a:p>
            <a:r>
              <a:rPr lang="is-IS" sz="500" dirty="0">
                <a:latin typeface="Monaco" charset="0"/>
              </a:rPr>
              <a:t>       [0.43336198],</a:t>
            </a:r>
          </a:p>
          <a:p>
            <a:r>
              <a:rPr lang="is-IS" sz="500" dirty="0">
                <a:latin typeface="Monaco" charset="0"/>
              </a:rPr>
              <a:t>       [0.53473582],</a:t>
            </a:r>
          </a:p>
          <a:p>
            <a:r>
              <a:rPr lang="is-IS" sz="500" dirty="0">
                <a:latin typeface="Monaco" charset="0"/>
              </a:rPr>
              <a:t>       [0.68560849],</a:t>
            </a:r>
          </a:p>
          <a:p>
            <a:r>
              <a:rPr lang="is-IS" sz="500" dirty="0">
                <a:latin typeface="Monaco" charset="0"/>
              </a:rPr>
              <a:t>       [0.01609683],</a:t>
            </a:r>
          </a:p>
          <a:p>
            <a:r>
              <a:rPr lang="is-IS" sz="500" dirty="0">
                <a:latin typeface="Monaco" charset="0"/>
              </a:rPr>
              <a:t>       [0.92965087],</a:t>
            </a:r>
          </a:p>
          <a:p>
            <a:r>
              <a:rPr lang="is-IS" sz="500" dirty="0">
                <a:latin typeface="Monaco" charset="0"/>
              </a:rPr>
              <a:t>       [0.09711111],</a:t>
            </a:r>
          </a:p>
          <a:p>
            <a:r>
              <a:rPr lang="is-IS" sz="500" dirty="0">
                <a:latin typeface="Monaco" charset="0"/>
              </a:rPr>
              <a:t>       [0.80520133],</a:t>
            </a:r>
          </a:p>
          <a:p>
            <a:r>
              <a:rPr lang="is-IS" sz="500" dirty="0">
                <a:latin typeface="Monaco" charset="0"/>
              </a:rPr>
              <a:t>       [0.14279456],</a:t>
            </a:r>
          </a:p>
          <a:p>
            <a:r>
              <a:rPr lang="is-IS" sz="500" dirty="0">
                <a:latin typeface="Monaco" charset="0"/>
              </a:rPr>
              <a:t>       [0.68592087],</a:t>
            </a:r>
          </a:p>
          <a:p>
            <a:r>
              <a:rPr lang="is-IS" sz="500" dirty="0">
                <a:latin typeface="Monaco" charset="0"/>
              </a:rPr>
              <a:t>       [0.44764685],</a:t>
            </a:r>
          </a:p>
          <a:p>
            <a:r>
              <a:rPr lang="is-IS" sz="500" dirty="0">
                <a:latin typeface="Monaco" charset="0"/>
              </a:rPr>
              <a:t>       [0.62588539],</a:t>
            </a:r>
          </a:p>
          <a:p>
            <a:r>
              <a:rPr lang="is-IS" sz="500" dirty="0">
                <a:latin typeface="Monaco" charset="0"/>
              </a:rPr>
              <a:t>       [0.68284297],</a:t>
            </a:r>
          </a:p>
          <a:p>
            <a:r>
              <a:rPr lang="is-IS" sz="500" dirty="0">
                <a:latin typeface="Monaco" charset="0"/>
              </a:rPr>
              <a:t>       [0.70308722],</a:t>
            </a:r>
          </a:p>
          <a:p>
            <a:r>
              <a:rPr lang="is-IS" sz="500" dirty="0">
                <a:latin typeface="Monaco" charset="0"/>
              </a:rPr>
              <a:t>       [0.44747923],</a:t>
            </a:r>
          </a:p>
          <a:p>
            <a:r>
              <a:rPr lang="is-IS" sz="500" dirty="0">
                <a:latin typeface="Monaco" charset="0"/>
              </a:rPr>
              <a:t>       [0.16215412],</a:t>
            </a:r>
          </a:p>
          <a:p>
            <a:r>
              <a:rPr lang="is-IS" sz="500" dirty="0">
                <a:latin typeface="Monaco" charset="0"/>
              </a:rPr>
              <a:t>       [0.3452338 ],</a:t>
            </a:r>
          </a:p>
          <a:p>
            <a:r>
              <a:rPr lang="is-IS" sz="500" dirty="0">
                <a:latin typeface="Monaco" charset="0"/>
              </a:rPr>
              <a:t>       [0.6064216 ],</a:t>
            </a:r>
          </a:p>
          <a:p>
            <a:r>
              <a:rPr lang="is-IS" sz="500" dirty="0">
                <a:latin typeface="Monaco" charset="0"/>
              </a:rPr>
              <a:t>       [0.66584489],</a:t>
            </a:r>
          </a:p>
          <a:p>
            <a:r>
              <a:rPr lang="is-IS" sz="500" dirty="0">
                <a:latin typeface="Monaco" charset="0"/>
              </a:rPr>
              <a:t>       [0.56663805],</a:t>
            </a:r>
          </a:p>
          <a:p>
            <a:r>
              <a:rPr lang="is-IS" sz="500" dirty="0">
                <a:latin typeface="Monaco" charset="0"/>
              </a:rPr>
              <a:t>       [0.04397835],</a:t>
            </a:r>
          </a:p>
          <a:p>
            <a:r>
              <a:rPr lang="is-IS" sz="500" dirty="0">
                <a:latin typeface="Monaco" charset="0"/>
              </a:rPr>
              <a:t>       [0.06954956],</a:t>
            </a:r>
          </a:p>
          <a:p>
            <a:r>
              <a:rPr lang="is-IS" sz="500" dirty="0">
                <a:latin typeface="Monaco" charset="0"/>
              </a:rPr>
              <a:t>       [0.31945358],</a:t>
            </a:r>
          </a:p>
          <a:p>
            <a:r>
              <a:rPr lang="is-IS" sz="500" dirty="0">
                <a:latin typeface="Monaco" charset="0"/>
              </a:rPr>
              <a:t>       [0.77817736],</a:t>
            </a:r>
          </a:p>
          <a:p>
            <a:r>
              <a:rPr lang="is-IS" sz="500" dirty="0">
                <a:latin typeface="Monaco" charset="0"/>
              </a:rPr>
              <a:t>       [0.8689392 ],</a:t>
            </a:r>
          </a:p>
          <a:p>
            <a:r>
              <a:rPr lang="is-IS" sz="500" dirty="0">
                <a:latin typeface="Monaco" charset="0"/>
              </a:rPr>
              <a:t>       [0.16835546],</a:t>
            </a:r>
          </a:p>
          <a:p>
            <a:r>
              <a:rPr lang="is-IS" sz="500" dirty="0">
                <a:latin typeface="Monaco" charset="0"/>
              </a:rPr>
              <a:t>       [0.46908336]])</a:t>
            </a:r>
            <a:endParaRPr lang="is-IS" sz="500" dirty="0">
              <a:effectLst/>
              <a:latin typeface="Monaco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042827" y="2469657"/>
            <a:ext cx="6096000" cy="393954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500" dirty="0" smtClean="0">
                <a:latin typeface="Monaco" charset="0"/>
              </a:rPr>
              <a:t>Y</a:t>
            </a:r>
            <a:r>
              <a:rPr lang="is-IS" sz="500" dirty="0" smtClean="0">
                <a:latin typeface="Monaco" charset="0"/>
              </a:rPr>
              <a:t> =array</a:t>
            </a:r>
            <a:r>
              <a:rPr lang="is-IS" sz="500" dirty="0">
                <a:latin typeface="Monaco" charset="0"/>
              </a:rPr>
              <a:t>([[0.74936574],</a:t>
            </a:r>
          </a:p>
          <a:p>
            <a:r>
              <a:rPr lang="is-IS" sz="500" dirty="0">
                <a:latin typeface="Monaco" charset="0"/>
              </a:rPr>
              <a:t>       [0.79258384],</a:t>
            </a:r>
          </a:p>
          <a:p>
            <a:r>
              <a:rPr lang="is-IS" sz="500" dirty="0">
                <a:latin typeface="Monaco" charset="0"/>
              </a:rPr>
              <a:t>       [0.06382664],</a:t>
            </a:r>
          </a:p>
          <a:p>
            <a:r>
              <a:rPr lang="is-IS" sz="500" dirty="0">
                <a:latin typeface="Monaco" charset="0"/>
              </a:rPr>
              <a:t>       [0.63906225],</a:t>
            </a:r>
          </a:p>
          <a:p>
            <a:r>
              <a:rPr lang="is-IS" sz="500" dirty="0">
                <a:latin typeface="Monaco" charset="0"/>
              </a:rPr>
              <a:t>       [0.02960675],</a:t>
            </a:r>
          </a:p>
          <a:p>
            <a:r>
              <a:rPr lang="is-IS" sz="500" dirty="0">
                <a:latin typeface="Monaco" charset="0"/>
              </a:rPr>
              <a:t>       [0.70849428],</a:t>
            </a:r>
          </a:p>
          <a:p>
            <a:r>
              <a:rPr lang="is-IS" sz="500" dirty="0">
                <a:latin typeface="Monaco" charset="0"/>
              </a:rPr>
              <a:t>       [0.23447195],</a:t>
            </a:r>
          </a:p>
          <a:p>
            <a:r>
              <a:rPr lang="is-IS" sz="500" dirty="0">
                <a:latin typeface="Monaco" charset="0"/>
              </a:rPr>
              <a:t>       [0.87444149],</a:t>
            </a:r>
          </a:p>
          <a:p>
            <a:r>
              <a:rPr lang="is-IS" sz="500" dirty="0">
                <a:latin typeface="Monaco" charset="0"/>
              </a:rPr>
              <a:t>       [0.49482896],</a:t>
            </a:r>
          </a:p>
          <a:p>
            <a:r>
              <a:rPr lang="is-IS" sz="500" dirty="0">
                <a:latin typeface="Monaco" charset="0"/>
              </a:rPr>
              <a:t>       [0.4019388 ],</a:t>
            </a:r>
          </a:p>
          <a:p>
            <a:r>
              <a:rPr lang="is-IS" sz="500" dirty="0">
                <a:latin typeface="Monaco" charset="0"/>
              </a:rPr>
              <a:t>       [0.95039339],</a:t>
            </a:r>
          </a:p>
          <a:p>
            <a:r>
              <a:rPr lang="is-IS" sz="500" dirty="0">
                <a:latin typeface="Monaco" charset="0"/>
              </a:rPr>
              <a:t>       [0.18576771],</a:t>
            </a:r>
          </a:p>
          <a:p>
            <a:r>
              <a:rPr lang="is-IS" sz="500" dirty="0">
                <a:latin typeface="Monaco" charset="0"/>
              </a:rPr>
              <a:t>       [0.29146152],</a:t>
            </a:r>
          </a:p>
          <a:p>
            <a:r>
              <a:rPr lang="is-IS" sz="500" dirty="0">
                <a:latin typeface="Monaco" charset="0"/>
              </a:rPr>
              <a:t>       [0.62398151],</a:t>
            </a:r>
          </a:p>
          <a:p>
            <a:r>
              <a:rPr lang="is-IS" sz="500" dirty="0">
                <a:latin typeface="Monaco" charset="0"/>
              </a:rPr>
              <a:t>       [0.74295998],</a:t>
            </a:r>
          </a:p>
          <a:p>
            <a:r>
              <a:rPr lang="is-IS" sz="500" dirty="0">
                <a:latin typeface="Monaco" charset="0"/>
              </a:rPr>
              <a:t>       [0.46837823],</a:t>
            </a:r>
          </a:p>
          <a:p>
            <a:r>
              <a:rPr lang="is-IS" sz="500" dirty="0">
                <a:latin typeface="Monaco" charset="0"/>
              </a:rPr>
              <a:t>       [0.33560226],</a:t>
            </a:r>
          </a:p>
          <a:p>
            <a:r>
              <a:rPr lang="is-IS" sz="500" dirty="0">
                <a:latin typeface="Monaco" charset="0"/>
              </a:rPr>
              <a:t>       [0.63003699],</a:t>
            </a:r>
          </a:p>
          <a:p>
            <a:r>
              <a:rPr lang="is-IS" sz="500" dirty="0">
                <a:latin typeface="Monaco" charset="0"/>
              </a:rPr>
              <a:t>       [0.41267455],</a:t>
            </a:r>
          </a:p>
          <a:p>
            <a:r>
              <a:rPr lang="is-IS" sz="500" dirty="0">
                <a:latin typeface="Monaco" charset="0"/>
              </a:rPr>
              <a:t>       [0.892257  ],</a:t>
            </a:r>
          </a:p>
          <a:p>
            <a:r>
              <a:rPr lang="is-IS" sz="500" dirty="0">
                <a:latin typeface="Monaco" charset="0"/>
              </a:rPr>
              <a:t>       [0.00162714],</a:t>
            </a:r>
          </a:p>
          <a:p>
            <a:r>
              <a:rPr lang="is-IS" sz="500" dirty="0">
                <a:latin typeface="Monaco" charset="0"/>
              </a:rPr>
              <a:t>       [0.59887539],</a:t>
            </a:r>
          </a:p>
          <a:p>
            <a:r>
              <a:rPr lang="is-IS" sz="500" dirty="0">
                <a:latin typeface="Monaco" charset="0"/>
              </a:rPr>
              <a:t>       [0.52160887],</a:t>
            </a:r>
          </a:p>
          <a:p>
            <a:r>
              <a:rPr lang="is-IS" sz="500" dirty="0">
                <a:latin typeface="Monaco" charset="0"/>
              </a:rPr>
              <a:t>       [0.42736936],</a:t>
            </a:r>
          </a:p>
          <a:p>
            <a:r>
              <a:rPr lang="is-IS" sz="500" dirty="0">
                <a:latin typeface="Monaco" charset="0"/>
              </a:rPr>
              <a:t>       [0.59611896],</a:t>
            </a:r>
          </a:p>
          <a:p>
            <a:r>
              <a:rPr lang="is-IS" sz="500" dirty="0">
                <a:latin typeface="Monaco" charset="0"/>
              </a:rPr>
              <a:t>       [0.04349762],</a:t>
            </a:r>
          </a:p>
          <a:p>
            <a:r>
              <a:rPr lang="is-IS" sz="500" dirty="0">
                <a:latin typeface="Monaco" charset="0"/>
              </a:rPr>
              <a:t>       [0.10889983],</a:t>
            </a:r>
          </a:p>
          <a:p>
            <a:r>
              <a:rPr lang="is-IS" sz="500" dirty="0">
                <a:latin typeface="Monaco" charset="0"/>
              </a:rPr>
              <a:t>       [0.61417486],</a:t>
            </a:r>
          </a:p>
          <a:p>
            <a:r>
              <a:rPr lang="is-IS" sz="500" dirty="0">
                <a:latin typeface="Monaco" charset="0"/>
              </a:rPr>
              <a:t>       [0.71631042],</a:t>
            </a:r>
          </a:p>
          <a:p>
            <a:r>
              <a:rPr lang="is-IS" sz="500" dirty="0">
                <a:latin typeface="Monaco" charset="0"/>
              </a:rPr>
              <a:t>       [0.2598101 ],</a:t>
            </a:r>
          </a:p>
          <a:p>
            <a:r>
              <a:rPr lang="is-IS" sz="500" dirty="0">
                <a:latin typeface="Monaco" charset="0"/>
              </a:rPr>
              <a:t>       [0.19144972],</a:t>
            </a:r>
          </a:p>
          <a:p>
            <a:r>
              <a:rPr lang="is-IS" sz="500" dirty="0">
                <a:latin typeface="Monaco" charset="0"/>
              </a:rPr>
              <a:t>       [0.69364723],</a:t>
            </a:r>
          </a:p>
          <a:p>
            <a:r>
              <a:rPr lang="is-IS" sz="500" dirty="0">
                <a:latin typeface="Monaco" charset="0"/>
              </a:rPr>
              <a:t>       [0.15829926],</a:t>
            </a:r>
          </a:p>
          <a:p>
            <a:r>
              <a:rPr lang="is-IS" sz="500" dirty="0">
                <a:latin typeface="Monaco" charset="0"/>
              </a:rPr>
              <a:t>       [0.74699998],</a:t>
            </a:r>
          </a:p>
          <a:p>
            <a:r>
              <a:rPr lang="is-IS" sz="500" dirty="0">
                <a:latin typeface="Monaco" charset="0"/>
              </a:rPr>
              <a:t>       [0.26947397],</a:t>
            </a:r>
          </a:p>
          <a:p>
            <a:r>
              <a:rPr lang="is-IS" sz="500" dirty="0">
                <a:latin typeface="Monaco" charset="0"/>
              </a:rPr>
              <a:t>       [0.19101634],</a:t>
            </a:r>
          </a:p>
          <a:p>
            <a:r>
              <a:rPr lang="is-IS" sz="500" dirty="0">
                <a:latin typeface="Monaco" charset="0"/>
              </a:rPr>
              <a:t>       [0.46475356],</a:t>
            </a:r>
          </a:p>
          <a:p>
            <a:r>
              <a:rPr lang="is-IS" sz="500" dirty="0">
                <a:latin typeface="Monaco" charset="0"/>
              </a:rPr>
              <a:t>       [0.50004881],</a:t>
            </a:r>
          </a:p>
          <a:p>
            <a:r>
              <a:rPr lang="is-IS" sz="500" dirty="0">
                <a:latin typeface="Monaco" charset="0"/>
              </a:rPr>
              <a:t>       [0.39163537],</a:t>
            </a:r>
          </a:p>
          <a:p>
            <a:r>
              <a:rPr lang="is-IS" sz="500" dirty="0">
                <a:latin typeface="Monaco" charset="0"/>
              </a:rPr>
              <a:t>       [0.28780942],</a:t>
            </a:r>
          </a:p>
          <a:p>
            <a:r>
              <a:rPr lang="is-IS" sz="500" dirty="0">
                <a:latin typeface="Monaco" charset="0"/>
              </a:rPr>
              <a:t>       [0.35077044],</a:t>
            </a:r>
          </a:p>
          <a:p>
            <a:r>
              <a:rPr lang="is-IS" sz="500" dirty="0">
                <a:latin typeface="Monaco" charset="0"/>
              </a:rPr>
              <a:t>       [0.72415303],</a:t>
            </a:r>
          </a:p>
          <a:p>
            <a:r>
              <a:rPr lang="is-IS" sz="500" dirty="0">
                <a:latin typeface="Monaco" charset="0"/>
              </a:rPr>
              <a:t>       [0.20121398],</a:t>
            </a:r>
          </a:p>
          <a:p>
            <a:r>
              <a:rPr lang="is-IS" sz="500" dirty="0">
                <a:latin typeface="Monaco" charset="0"/>
              </a:rPr>
              <a:t>       [0.22419878],</a:t>
            </a:r>
          </a:p>
          <a:p>
            <a:r>
              <a:rPr lang="is-IS" sz="500" dirty="0">
                <a:latin typeface="Monaco" charset="0"/>
              </a:rPr>
              <a:t>       [0.64920682],</a:t>
            </a:r>
          </a:p>
          <a:p>
            <a:r>
              <a:rPr lang="is-IS" sz="500" dirty="0">
                <a:latin typeface="Monaco" charset="0"/>
              </a:rPr>
              <a:t>       [0.43322217],</a:t>
            </a:r>
          </a:p>
          <a:p>
            <a:r>
              <a:rPr lang="is-IS" sz="500" dirty="0">
                <a:latin typeface="Monaco" charset="0"/>
              </a:rPr>
              <a:t>       [0.5803156 ],</a:t>
            </a:r>
          </a:p>
          <a:p>
            <a:r>
              <a:rPr lang="is-IS" sz="500" dirty="0">
                <a:latin typeface="Monaco" charset="0"/>
              </a:rPr>
              <a:t>       [0.77363282],</a:t>
            </a:r>
          </a:p>
          <a:p>
            <a:r>
              <a:rPr lang="is-IS" sz="500" dirty="0">
                <a:latin typeface="Monaco" charset="0"/>
              </a:rPr>
              <a:t>       [0.2353177 ],</a:t>
            </a:r>
          </a:p>
          <a:p>
            <a:r>
              <a:rPr lang="is-IS" sz="500" dirty="0">
                <a:latin typeface="Monaco" charset="0"/>
              </a:rPr>
              <a:t>       [0.10631033]])</a:t>
            </a:r>
            <a:endParaRPr lang="is-IS" sz="500" dirty="0">
              <a:effectLst/>
              <a:latin typeface="Monaco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7118252" y="2996418"/>
            <a:ext cx="1055077" cy="2405576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80509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7934" y="3122779"/>
            <a:ext cx="2624666" cy="1968500"/>
          </a:xfrm>
          <a:prstGeom prst="rect">
            <a:avLst/>
          </a:prstGeom>
        </p:spPr>
      </p:pic>
      <p:sp>
        <p:nvSpPr>
          <p:cNvPr id="9" name="Inhaltsplatzhalter 22">
            <a:extLst>
              <a:ext uri="{FF2B5EF4-FFF2-40B4-BE49-F238E27FC236}">
                <a16:creationId xmlns:a16="http://schemas.microsoft.com/office/drawing/2014/main" xmlns="" id="{9BDEAEEF-B3AF-4E25-860D-E6E06271F7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10753200" cy="4644000"/>
          </a:xfrm>
        </p:spPr>
        <p:txBody>
          <a:bodyPr/>
          <a:lstStyle/>
          <a:p>
            <a:pPr marL="298350" indent="-285750">
              <a:buFont typeface="Arial" charset="0"/>
              <a:buChar char="•"/>
            </a:pPr>
            <a:r>
              <a:rPr lang="en-GB" dirty="0" err="1" smtClean="0">
                <a:ea typeface="Courier New" charset="0"/>
                <a:cs typeface="Courier New" charset="0"/>
              </a:rPr>
              <a:t>Matplotlib</a:t>
            </a:r>
            <a:r>
              <a:rPr lang="en-GB" dirty="0" smtClean="0">
                <a:ea typeface="Courier New" charset="0"/>
                <a:cs typeface="Courier New" charset="0"/>
              </a:rPr>
              <a:t> is a Python package used predominately for 2D graphics </a:t>
            </a:r>
          </a:p>
          <a:p>
            <a:pPr marL="298350" indent="-285750">
              <a:buFont typeface="Arial" charset="0"/>
              <a:buChar char="•"/>
            </a:pPr>
            <a:r>
              <a:rPr lang="en-GB" dirty="0" err="1" smtClean="0">
                <a:ea typeface="Courier New" charset="0"/>
                <a:cs typeface="Courier New" charset="0"/>
              </a:rPr>
              <a:t>Bargraphs</a:t>
            </a:r>
            <a:r>
              <a:rPr lang="en-GB" dirty="0" smtClean="0">
                <a:ea typeface="Courier New" charset="0"/>
                <a:cs typeface="Courier New" charset="0"/>
              </a:rPr>
              <a:t>, Histograms</a:t>
            </a:r>
            <a:r>
              <a:rPr lang="de-DE" dirty="0" smtClean="0"/>
              <a:t>, </a:t>
            </a:r>
            <a:r>
              <a:rPr lang="de-DE" dirty="0" err="1" smtClean="0"/>
              <a:t>Scatter</a:t>
            </a:r>
            <a:r>
              <a:rPr lang="de-DE" dirty="0" smtClean="0"/>
              <a:t> Plot, </a:t>
            </a:r>
            <a:r>
              <a:rPr lang="de-DE" dirty="0" err="1" smtClean="0"/>
              <a:t>Pie</a:t>
            </a:r>
            <a:r>
              <a:rPr lang="de-DE" dirty="0" smtClean="0"/>
              <a:t> Plot, Hexagonal Bin Plot, Area Plot </a:t>
            </a:r>
          </a:p>
          <a:p>
            <a:pPr marL="298350" indent="-285750">
              <a:buFont typeface="Arial" charset="0"/>
              <a:buChar char="•"/>
            </a:pPr>
            <a:endParaRPr lang="en-GB" dirty="0" smtClean="0">
              <a:ea typeface="Courier New" charset="0"/>
              <a:cs typeface="Courier New" charset="0"/>
            </a:endParaRPr>
          </a:p>
        </p:txBody>
      </p:sp>
      <p:sp>
        <p:nvSpPr>
          <p:cNvPr id="22" name="Titel 21">
            <a:extLst>
              <a:ext uri="{FF2B5EF4-FFF2-40B4-BE49-F238E27FC236}">
                <a16:creationId xmlns:a16="http://schemas.microsoft.com/office/drawing/2014/main" xmlns="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Matplotlib</a:t>
            </a:r>
            <a:endParaRPr lang="de-DE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xmlns="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Matplotlib</a:t>
            </a:r>
            <a:endParaRPr lang="de-DE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xmlns="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7</a:t>
            </a:fld>
            <a:endParaRPr lang="de-DE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9515" y="2961474"/>
            <a:ext cx="3063239" cy="229742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2754" y="2958315"/>
            <a:ext cx="3063239" cy="229742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276" y="2958315"/>
            <a:ext cx="3063239" cy="2297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188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2">
            <a:extLst>
              <a:ext uri="{FF2B5EF4-FFF2-40B4-BE49-F238E27FC236}">
                <a16:creationId xmlns:a16="http://schemas.microsoft.com/office/drawing/2014/main" xmlns="" id="{9BDEAEEF-B3AF-4E25-860D-E6E06271F7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10753200" cy="4644000"/>
          </a:xfrm>
        </p:spPr>
        <p:txBody>
          <a:bodyPr/>
          <a:lstStyle/>
          <a:p>
            <a:r>
              <a:rPr lang="en-GB" dirty="0">
                <a:latin typeface="Courier New" charset="0"/>
                <a:ea typeface="Courier New" charset="0"/>
                <a:cs typeface="Courier New" charset="0"/>
              </a:rPr>
              <a:t>import </a:t>
            </a:r>
            <a:r>
              <a:rPr lang="en-GB" dirty="0" err="1">
                <a:latin typeface="Courier New" charset="0"/>
                <a:ea typeface="Courier New" charset="0"/>
                <a:cs typeface="Courier New" charset="0"/>
              </a:rPr>
              <a:t>matplotlib.pyplot</a:t>
            </a:r>
            <a:r>
              <a:rPr lang="en-GB" dirty="0">
                <a:latin typeface="Courier New" charset="0"/>
                <a:ea typeface="Courier New" charset="0"/>
                <a:cs typeface="Courier New" charset="0"/>
              </a:rPr>
              <a:t> as </a:t>
            </a:r>
            <a:r>
              <a:rPr lang="en-GB" dirty="0" err="1">
                <a:latin typeface="Courier New" charset="0"/>
                <a:ea typeface="Courier New" charset="0"/>
                <a:cs typeface="Courier New" charset="0"/>
              </a:rPr>
              <a:t>plt</a:t>
            </a:r>
            <a:r>
              <a:rPr lang="en-GB" dirty="0">
                <a:latin typeface="Courier New" charset="0"/>
                <a:ea typeface="Courier New" charset="0"/>
                <a:cs typeface="Courier New" charset="0"/>
              </a:rPr>
              <a:t> </a:t>
            </a:r>
            <a:endParaRPr lang="en-GB" dirty="0" smtClean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GB" dirty="0" smtClean="0">
                <a:latin typeface="Courier New" charset="0"/>
                <a:ea typeface="Courier New" charset="0"/>
                <a:cs typeface="Courier New" charset="0"/>
              </a:rPr>
              <a:t>x </a:t>
            </a:r>
            <a:r>
              <a:rPr lang="en-GB" dirty="0">
                <a:latin typeface="Courier New" charset="0"/>
                <a:ea typeface="Courier New" charset="0"/>
                <a:cs typeface="Courier New" charset="0"/>
              </a:rPr>
              <a:t>= [5,4,6,4,8,9,6,4</a:t>
            </a:r>
            <a:r>
              <a:rPr lang="en-GB" dirty="0" smtClean="0">
                <a:latin typeface="Courier New" charset="0"/>
                <a:ea typeface="Courier New" charset="0"/>
                <a:cs typeface="Courier New" charset="0"/>
              </a:rPr>
              <a:t>]</a:t>
            </a:r>
          </a:p>
          <a:p>
            <a:r>
              <a:rPr lang="en-GB" dirty="0" smtClean="0">
                <a:latin typeface="Courier New" charset="0"/>
                <a:ea typeface="Courier New" charset="0"/>
                <a:cs typeface="Courier New" charset="0"/>
              </a:rPr>
              <a:t>y </a:t>
            </a:r>
            <a:r>
              <a:rPr lang="en-GB" dirty="0">
                <a:latin typeface="Courier New" charset="0"/>
                <a:ea typeface="Courier New" charset="0"/>
                <a:cs typeface="Courier New" charset="0"/>
              </a:rPr>
              <a:t>= [1,2,3,4,5,6,7,8</a:t>
            </a:r>
            <a:r>
              <a:rPr lang="en-GB" dirty="0" smtClean="0">
                <a:latin typeface="Courier New" charset="0"/>
                <a:ea typeface="Courier New" charset="0"/>
                <a:cs typeface="Courier New" charset="0"/>
              </a:rPr>
              <a:t>]</a:t>
            </a:r>
          </a:p>
          <a:p>
            <a:r>
              <a:rPr lang="en-GB" dirty="0" err="1" smtClean="0">
                <a:latin typeface="Courier New" charset="0"/>
                <a:ea typeface="Courier New" charset="0"/>
                <a:cs typeface="Courier New" charset="0"/>
              </a:rPr>
              <a:t>plt.scatter</a:t>
            </a:r>
            <a:r>
              <a:rPr lang="en-GB" dirty="0" smtClean="0">
                <a:latin typeface="Courier New" charset="0"/>
                <a:ea typeface="Courier New" charset="0"/>
                <a:cs typeface="Courier New" charset="0"/>
              </a:rPr>
              <a:t>(</a:t>
            </a:r>
            <a:r>
              <a:rPr lang="en-GB" dirty="0" err="1" smtClean="0">
                <a:latin typeface="Courier New" charset="0"/>
                <a:ea typeface="Courier New" charset="0"/>
                <a:cs typeface="Courier New" charset="0"/>
              </a:rPr>
              <a:t>x,y</a:t>
            </a:r>
            <a:r>
              <a:rPr lang="en-GB" dirty="0" smtClean="0">
                <a:latin typeface="Courier New" charset="0"/>
                <a:ea typeface="Courier New" charset="0"/>
                <a:cs typeface="Courier New" charset="0"/>
              </a:rPr>
              <a:t>)</a:t>
            </a:r>
          </a:p>
          <a:p>
            <a:r>
              <a:rPr lang="en-GB" dirty="0" err="1" smtClean="0">
                <a:latin typeface="Courier New" charset="0"/>
                <a:ea typeface="Courier New" charset="0"/>
                <a:cs typeface="Courier New" charset="0"/>
              </a:rPr>
              <a:t>plt.title</a:t>
            </a:r>
            <a:r>
              <a:rPr lang="en-GB" dirty="0">
                <a:latin typeface="Courier New" charset="0"/>
                <a:ea typeface="Courier New" charset="0"/>
                <a:cs typeface="Courier New" charset="0"/>
              </a:rPr>
              <a:t>('example</a:t>
            </a:r>
            <a:r>
              <a:rPr lang="en-GB" dirty="0" smtClean="0">
                <a:latin typeface="Courier New" charset="0"/>
                <a:ea typeface="Courier New" charset="0"/>
                <a:cs typeface="Courier New" charset="0"/>
              </a:rPr>
              <a:t>')</a:t>
            </a:r>
          </a:p>
          <a:p>
            <a:r>
              <a:rPr lang="en-GB" dirty="0" err="1" smtClean="0">
                <a:latin typeface="Courier New" charset="0"/>
                <a:ea typeface="Courier New" charset="0"/>
                <a:cs typeface="Courier New" charset="0"/>
              </a:rPr>
              <a:t>plt.ylabel</a:t>
            </a:r>
            <a:r>
              <a:rPr lang="en-GB" dirty="0">
                <a:latin typeface="Courier New" charset="0"/>
                <a:ea typeface="Courier New" charset="0"/>
                <a:cs typeface="Courier New" charset="0"/>
              </a:rPr>
              <a:t>('y axis</a:t>
            </a:r>
            <a:r>
              <a:rPr lang="en-GB" dirty="0" smtClean="0">
                <a:latin typeface="Courier New" charset="0"/>
                <a:ea typeface="Courier New" charset="0"/>
                <a:cs typeface="Courier New" charset="0"/>
              </a:rPr>
              <a:t>')</a:t>
            </a:r>
          </a:p>
          <a:p>
            <a:r>
              <a:rPr lang="en-GB" dirty="0" err="1" smtClean="0">
                <a:latin typeface="Courier New" charset="0"/>
                <a:ea typeface="Courier New" charset="0"/>
                <a:cs typeface="Courier New" charset="0"/>
              </a:rPr>
              <a:t>plt.xlabel</a:t>
            </a:r>
            <a:r>
              <a:rPr lang="en-GB" dirty="0">
                <a:latin typeface="Courier New" charset="0"/>
                <a:ea typeface="Courier New" charset="0"/>
                <a:cs typeface="Courier New" charset="0"/>
              </a:rPr>
              <a:t>('x axis</a:t>
            </a:r>
            <a:r>
              <a:rPr lang="en-GB" dirty="0" smtClean="0">
                <a:latin typeface="Courier New" charset="0"/>
                <a:ea typeface="Courier New" charset="0"/>
                <a:cs typeface="Courier New" charset="0"/>
              </a:rPr>
              <a:t>')</a:t>
            </a:r>
          </a:p>
          <a:p>
            <a:r>
              <a:rPr lang="en-GB" dirty="0" err="1" smtClean="0">
                <a:latin typeface="Courier New" charset="0"/>
                <a:ea typeface="Courier New" charset="0"/>
                <a:cs typeface="Courier New" charset="0"/>
              </a:rPr>
              <a:t>plt.show</a:t>
            </a:r>
            <a:r>
              <a:rPr lang="en-GB" dirty="0">
                <a:latin typeface="Courier New" charset="0"/>
                <a:ea typeface="Courier New" charset="0"/>
                <a:cs typeface="Courier New" charset="0"/>
              </a:rPr>
              <a:t>()</a:t>
            </a:r>
            <a:endParaRPr lang="en-GB" dirty="0" smtClean="0">
              <a:latin typeface="Courier New" charset="0"/>
              <a:ea typeface="Courier New" charset="0"/>
              <a:cs typeface="Courier New" charset="0"/>
            </a:endParaRPr>
          </a:p>
        </p:txBody>
      </p:sp>
      <p:sp>
        <p:nvSpPr>
          <p:cNvPr id="22" name="Titel 21">
            <a:extLst>
              <a:ext uri="{FF2B5EF4-FFF2-40B4-BE49-F238E27FC236}">
                <a16:creationId xmlns:a16="http://schemas.microsoft.com/office/drawing/2014/main" xmlns="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Matplotlib</a:t>
            </a:r>
            <a:endParaRPr lang="de-DE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xmlns="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 smtClean="0"/>
              <a:t>Example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xmlns="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8</a:t>
            </a:fld>
            <a:endParaRPr lang="de-D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0440" y="1365122"/>
            <a:ext cx="5852160" cy="4389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70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xmlns="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eep</a:t>
            </a:r>
            <a:r>
              <a:rPr lang="de-DE" dirty="0" smtClean="0"/>
              <a:t> Learning (</a:t>
            </a:r>
            <a:r>
              <a:rPr lang="de-DE" dirty="0" err="1" smtClean="0"/>
              <a:t>NumPy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xmlns="" id="{9BDEAEEF-B3AF-4E25-860D-E6E06271F7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Arial" charset="0"/>
              <a:buChar char="•"/>
            </a:pPr>
            <a:r>
              <a:rPr lang="en-GB" dirty="0" err="1" smtClean="0"/>
              <a:t>Becominghuman.ai</a:t>
            </a:r>
            <a:endParaRPr lang="en-GB" dirty="0"/>
          </a:p>
          <a:p>
            <a:pPr marL="298350" indent="-285750">
              <a:buFont typeface="Arial" charset="0"/>
              <a:buChar char="•"/>
            </a:pPr>
            <a:r>
              <a:rPr lang="en-GB" dirty="0" err="1" smtClean="0"/>
              <a:t>Medium.com</a:t>
            </a:r>
            <a:endParaRPr lang="en-GB" dirty="0" smtClean="0"/>
          </a:p>
          <a:p>
            <a:pPr marL="298350" indent="-285750">
              <a:buFont typeface="Arial" charset="0"/>
              <a:buChar char="•"/>
            </a:pPr>
            <a:r>
              <a:rPr lang="en-GB" dirty="0" err="1" smtClean="0"/>
              <a:t>Towardsdatascience.com</a:t>
            </a:r>
            <a:endParaRPr lang="en-GB" dirty="0" smtClean="0"/>
          </a:p>
          <a:p>
            <a:pPr marL="298350" indent="-285750">
              <a:buFont typeface="Arial" charset="0"/>
              <a:buChar char="•"/>
            </a:pPr>
            <a:r>
              <a:rPr lang="en-GB" dirty="0" err="1" smtClean="0"/>
              <a:t>Hackeroon.com</a:t>
            </a:r>
            <a:endParaRPr lang="en-GB" dirty="0" smtClean="0"/>
          </a:p>
          <a:p>
            <a:pPr marL="298350" indent="-285750">
              <a:buFont typeface="Arial" charset="0"/>
              <a:buChar char="•"/>
            </a:pPr>
            <a:endParaRPr lang="en-GB" dirty="0" smtClean="0"/>
          </a:p>
          <a:p>
            <a:pPr marL="298350" indent="-285750">
              <a:buFont typeface="Arial" charset="0"/>
              <a:buChar char="•"/>
            </a:pPr>
            <a:r>
              <a:rPr lang="en-GB" dirty="0" smtClean="0"/>
              <a:t>Coursera - </a:t>
            </a:r>
            <a:r>
              <a:rPr lang="en-GB" u="sng" dirty="0">
                <a:hlinkClick r:id="rId2"/>
              </a:rPr>
              <a:t>Deep Learning w/ Andrew Ng</a:t>
            </a:r>
          </a:p>
          <a:p>
            <a:pPr marL="298350" indent="-285750">
              <a:buFont typeface="Arial" charset="0"/>
              <a:buChar char="•"/>
            </a:pPr>
            <a:r>
              <a:rPr lang="en-GB" dirty="0">
                <a:hlinkClick r:id="rId3"/>
              </a:rPr>
              <a:t>http://www.deeplearningbook.org/</a:t>
            </a:r>
            <a:endParaRPr lang="en-GB" dirty="0" smtClean="0"/>
          </a:p>
          <a:p>
            <a:pPr marL="298350" indent="-285750">
              <a:buFont typeface="Arial" charset="0"/>
              <a:buChar char="•"/>
            </a:pPr>
            <a:endParaRPr lang="en-GB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xmlns="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smtClean="0"/>
              <a:t>Online resources</a:t>
            </a:r>
            <a:endParaRPr lang="de-DE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xmlns="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377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xmlns="" id="{34114008-611E-442A-A754-CD9D9F7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D004A7FA-E887-4B62-8B7A-F0F1CE7A57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8801" y="1870947"/>
            <a:ext cx="452077" cy="454456"/>
          </a:xfrm>
        </p:spPr>
        <p:txBody>
          <a:bodyPr/>
          <a:lstStyle/>
          <a:p>
            <a:r>
              <a:rPr lang="en-GB" dirty="0" smtClean="0"/>
              <a:t>1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E3E27A5B-619E-4463-886D-6CA74148F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870947"/>
            <a:ext cx="10083148" cy="454456"/>
          </a:xfrm>
        </p:spPr>
        <p:txBody>
          <a:bodyPr/>
          <a:lstStyle/>
          <a:p>
            <a:r>
              <a:rPr lang="en-GB" dirty="0" smtClean="0"/>
              <a:t>Python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9D58C145-E0A9-433C-878E-3CB0D229B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8801" y="2469453"/>
            <a:ext cx="452077" cy="454456"/>
          </a:xfrm>
        </p:spPr>
        <p:txBody>
          <a:bodyPr/>
          <a:lstStyle/>
          <a:p>
            <a:r>
              <a:rPr lang="en-GB" dirty="0" smtClean="0"/>
              <a:t>2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F8DA6802-F644-47B9-A970-15278C2404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469453"/>
            <a:ext cx="10083148" cy="454456"/>
          </a:xfrm>
        </p:spPr>
        <p:txBody>
          <a:bodyPr/>
          <a:lstStyle/>
          <a:p>
            <a:r>
              <a:rPr lang="en-GB" dirty="0" err="1" smtClean="0"/>
              <a:t>NumPy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E6FA53A8-133D-4065-AE39-D064EC2923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8801" y="3067959"/>
            <a:ext cx="452077" cy="454456"/>
          </a:xfrm>
        </p:spPr>
        <p:txBody>
          <a:bodyPr/>
          <a:lstStyle/>
          <a:p>
            <a:r>
              <a:rPr lang="en-GB" dirty="0" smtClean="0"/>
              <a:t>3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D68A5245-99B2-4A44-806A-CF23BB425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8853" y="3067959"/>
            <a:ext cx="10083148" cy="454456"/>
          </a:xfrm>
        </p:spPr>
        <p:txBody>
          <a:bodyPr/>
          <a:lstStyle/>
          <a:p>
            <a:r>
              <a:rPr lang="en-GB" dirty="0" err="1" smtClean="0"/>
              <a:t>Matplotlib</a:t>
            </a:r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xmlns="" id="{DC38C929-DB4C-4BA5-8DD3-9A4FB5DA80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8801" y="3666465"/>
            <a:ext cx="452077" cy="454456"/>
          </a:xfrm>
        </p:spPr>
        <p:txBody>
          <a:bodyPr/>
          <a:lstStyle/>
          <a:p>
            <a:r>
              <a:rPr lang="en-GB" dirty="0" smtClean="0"/>
              <a:t>4</a:t>
            </a:r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xmlns="" id="{98E507F6-6689-4AFB-B3EF-C8BA2FE519C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666465"/>
            <a:ext cx="10083148" cy="454456"/>
          </a:xfrm>
        </p:spPr>
        <p:txBody>
          <a:bodyPr/>
          <a:lstStyle/>
          <a:p>
            <a:r>
              <a:rPr lang="en-GB" dirty="0" smtClean="0"/>
              <a:t>Exercise</a:t>
            </a:r>
            <a:endParaRPr lang="en-GB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xmlns="" id="{280ED7ED-E9C4-4638-AE85-2B7C1966689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8927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2">
            <a:extLst>
              <a:ext uri="{FF2B5EF4-FFF2-40B4-BE49-F238E27FC236}">
                <a16:creationId xmlns:a16="http://schemas.microsoft.com/office/drawing/2014/main" xmlns="" id="{9BDEAEEF-B3AF-4E25-860D-E6E06271F7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10753200" cy="4644000"/>
          </a:xfrm>
        </p:spPr>
        <p:txBody>
          <a:bodyPr/>
          <a:lstStyle/>
          <a:p>
            <a:pPr marL="298350" lvl="2" indent="-285750">
              <a:spcBef>
                <a:spcPts val="1200"/>
              </a:spcBef>
              <a:buClr>
                <a:srgbClr val="AD007C"/>
              </a:buClr>
              <a:buFont typeface="Arial" charset="0"/>
              <a:buChar char="•"/>
            </a:pPr>
            <a:r>
              <a:rPr lang="en-GB" dirty="0" smtClean="0">
                <a:ea typeface="Arial Hebrew" charset="-79"/>
                <a:cs typeface="Arial Hebrew" charset="-79"/>
              </a:rPr>
              <a:t>Exercise (DL-T1.ipynb)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dirty="0" smtClean="0">
                <a:ea typeface="Arial Hebrew" charset="-79"/>
                <a:cs typeface="Arial Hebrew" charset="-79"/>
              </a:rPr>
              <a:t>Focused mostly on </a:t>
            </a:r>
            <a:r>
              <a:rPr lang="en-GB" dirty="0" err="1" smtClean="0">
                <a:ea typeface="Arial Hebrew" charset="-79"/>
                <a:cs typeface="Arial Hebrew" charset="-79"/>
              </a:rPr>
              <a:t>NumPy</a:t>
            </a:r>
            <a:endParaRPr lang="en-GB" dirty="0" smtClean="0">
              <a:ea typeface="Arial Hebrew" charset="-79"/>
              <a:cs typeface="Arial Hebrew" charset="-79"/>
            </a:endParaRPr>
          </a:p>
          <a:p>
            <a:pPr marL="501750" lvl="1" indent="-285750">
              <a:buFont typeface="Arial" charset="0"/>
              <a:buChar char="•"/>
            </a:pPr>
            <a:r>
              <a:rPr lang="en-GB" dirty="0" smtClean="0">
                <a:ea typeface="Arial Hebrew" charset="-79"/>
                <a:cs typeface="Arial Hebrew" charset="-79"/>
              </a:rPr>
              <a:t>Exercise Questions relate only to </a:t>
            </a:r>
            <a:r>
              <a:rPr lang="en-GB" dirty="0" err="1" smtClean="0">
                <a:ea typeface="Arial Hebrew" charset="-79"/>
                <a:cs typeface="Arial Hebrew" charset="-79"/>
              </a:rPr>
              <a:t>NumPy</a:t>
            </a:r>
            <a:endParaRPr lang="en-GB" dirty="0" smtClean="0">
              <a:ea typeface="Arial Hebrew" charset="-79"/>
              <a:cs typeface="Arial Hebrew" charset="-79"/>
            </a:endParaRPr>
          </a:p>
          <a:p>
            <a:pPr marL="501750" lvl="1" indent="-285750">
              <a:buFont typeface="Arial" charset="0"/>
              <a:buChar char="•"/>
            </a:pPr>
            <a:endParaRPr lang="en-GB" dirty="0" smtClean="0">
              <a:ea typeface="Arial Hebrew" charset="-79"/>
              <a:cs typeface="Arial Hebrew" charset="-79"/>
            </a:endParaRPr>
          </a:p>
          <a:p>
            <a:pPr marL="501750" lvl="1" indent="-285750">
              <a:buFont typeface="Arial" charset="0"/>
              <a:buChar char="•"/>
            </a:pPr>
            <a:r>
              <a:rPr lang="en-GB" dirty="0" smtClean="0">
                <a:ea typeface="Arial Hebrew" charset="-79"/>
                <a:cs typeface="Arial Hebrew" charset="-79"/>
              </a:rPr>
              <a:t>Open the </a:t>
            </a:r>
            <a:r>
              <a:rPr lang="en-GB" dirty="0" err="1" smtClean="0">
                <a:ea typeface="Arial Hebrew" charset="-79"/>
                <a:cs typeface="Arial Hebrew" charset="-79"/>
              </a:rPr>
              <a:t>jupyter</a:t>
            </a:r>
            <a:r>
              <a:rPr lang="en-GB" dirty="0" smtClean="0">
                <a:ea typeface="Arial Hebrew" charset="-79"/>
                <a:cs typeface="Arial Hebrew" charset="-79"/>
              </a:rPr>
              <a:t> notebook that has been uploaded to </a:t>
            </a:r>
            <a:r>
              <a:rPr lang="en-GB" dirty="0" err="1" smtClean="0">
                <a:ea typeface="Arial Hebrew" charset="-79"/>
                <a:cs typeface="Arial Hebrew" charset="-79"/>
              </a:rPr>
              <a:t>digicampus</a:t>
            </a:r>
            <a:r>
              <a:rPr lang="en-GB" dirty="0" smtClean="0">
                <a:ea typeface="Arial Hebrew" charset="-79"/>
                <a:cs typeface="Arial Hebrew" charset="-79"/>
              </a:rPr>
              <a:t> 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dirty="0" smtClean="0">
                <a:ea typeface="Arial Hebrew" charset="-79"/>
                <a:cs typeface="Arial Hebrew" charset="-79"/>
              </a:rPr>
              <a:t>If you do not have </a:t>
            </a:r>
            <a:r>
              <a:rPr lang="en-GB" dirty="0" err="1" smtClean="0">
                <a:ea typeface="Arial Hebrew" charset="-79"/>
                <a:cs typeface="Arial Hebrew" charset="-79"/>
              </a:rPr>
              <a:t>jupyter</a:t>
            </a:r>
            <a:r>
              <a:rPr lang="en-GB" dirty="0" smtClean="0">
                <a:ea typeface="Arial Hebrew" charset="-79"/>
                <a:cs typeface="Arial Hebrew" charset="-79"/>
              </a:rPr>
              <a:t> please install it: </a:t>
            </a:r>
          </a:p>
          <a:p>
            <a:pPr marL="717750" lvl="2" indent="-285750">
              <a:buFont typeface="Arial" charset="0"/>
              <a:buChar char="•"/>
            </a:pPr>
            <a:r>
              <a:rPr lang="en-GB" dirty="0" smtClean="0">
                <a:ea typeface="Arial Hebrew" charset="-79"/>
                <a:cs typeface="Arial Hebrew" charset="-79"/>
              </a:rPr>
              <a:t>$ pip install </a:t>
            </a:r>
            <a:r>
              <a:rPr lang="en-GB" dirty="0" err="1" smtClean="0">
                <a:ea typeface="Arial Hebrew" charset="-79"/>
                <a:cs typeface="Arial Hebrew" charset="-79"/>
              </a:rPr>
              <a:t>jupyter</a:t>
            </a:r>
            <a:r>
              <a:rPr lang="en-GB" dirty="0" smtClean="0">
                <a:ea typeface="Arial Hebrew" charset="-79"/>
                <a:cs typeface="Arial Hebrew" charset="-79"/>
              </a:rPr>
              <a:t> </a:t>
            </a:r>
          </a:p>
          <a:p>
            <a:pPr marL="717750" lvl="2" indent="-285750">
              <a:buFont typeface="Arial" charset="0"/>
              <a:buChar char="•"/>
            </a:pPr>
            <a:r>
              <a:rPr lang="en-GB" dirty="0" smtClean="0">
                <a:ea typeface="Arial Hebrew" charset="-79"/>
                <a:cs typeface="Arial Hebrew" charset="-79"/>
              </a:rPr>
              <a:t>$</a:t>
            </a:r>
            <a:r>
              <a:rPr lang="en-GB" dirty="0" err="1" smtClean="0">
                <a:ea typeface="Arial Hebrew" charset="-79"/>
                <a:cs typeface="Arial Hebrew" charset="-79"/>
              </a:rPr>
              <a:t>jupyter</a:t>
            </a:r>
            <a:r>
              <a:rPr lang="en-GB" dirty="0" smtClean="0">
                <a:ea typeface="Arial Hebrew" charset="-79"/>
                <a:cs typeface="Arial Hebrew" charset="-79"/>
              </a:rPr>
              <a:t> notebook DL-T1.ipynb / dl_tut_insession01.ipynb</a:t>
            </a:r>
          </a:p>
          <a:p>
            <a:pPr marL="501750" lvl="1" indent="-285750">
              <a:buFont typeface="Arial" charset="0"/>
              <a:buChar char="•"/>
            </a:pPr>
            <a:endParaRPr lang="en-GB" dirty="0" smtClean="0">
              <a:ea typeface="Arial Hebrew" charset="-79"/>
              <a:cs typeface="Arial Hebrew" charset="-79"/>
            </a:endParaRPr>
          </a:p>
        </p:txBody>
      </p:sp>
      <p:sp>
        <p:nvSpPr>
          <p:cNvPr id="22" name="Titel 21">
            <a:extLst>
              <a:ext uri="{FF2B5EF4-FFF2-40B4-BE49-F238E27FC236}">
                <a16:creationId xmlns:a16="http://schemas.microsoft.com/office/drawing/2014/main" xmlns="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cercise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xmlns="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smtClean="0"/>
              <a:t>Python / </a:t>
            </a:r>
            <a:r>
              <a:rPr lang="de-DE" dirty="0" err="1" smtClean="0"/>
              <a:t>Numpy</a:t>
            </a:r>
            <a:r>
              <a:rPr lang="de-DE" dirty="0" smtClean="0"/>
              <a:t> / </a:t>
            </a:r>
            <a:r>
              <a:rPr lang="de-DE" dirty="0" err="1" smtClean="0"/>
              <a:t>Matplotlib</a:t>
            </a:r>
            <a:endParaRPr lang="de-DE" dirty="0"/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xmlns="" id="{7951D854-978C-4F36-BC3F-C8EBCBFA025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xmlns="" id="{4A14DD86-4869-4C96-801B-0303D7FB1D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xmlns="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0104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xmlns="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ython</a:t>
            </a:r>
            <a:endParaRPr lang="de-DE" dirty="0"/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xmlns="" id="{9BDEAEEF-B3AF-4E25-860D-E6E06271F7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Arial" charset="0"/>
              <a:buChar char="•"/>
            </a:pPr>
            <a:r>
              <a:rPr lang="en-GB" dirty="0" smtClean="0"/>
              <a:t>Free and open source</a:t>
            </a:r>
          </a:p>
          <a:p>
            <a:pPr marL="298350" indent="-285750">
              <a:buFont typeface="Arial" charset="0"/>
              <a:buChar char="•"/>
            </a:pPr>
            <a:r>
              <a:rPr lang="en-GB" dirty="0" smtClean="0"/>
              <a:t>Simple syntax </a:t>
            </a:r>
          </a:p>
          <a:p>
            <a:pPr marL="298350" indent="-285750">
              <a:buFont typeface="Arial" charset="0"/>
              <a:buChar char="•"/>
            </a:pPr>
            <a:r>
              <a:rPr lang="en-GB" dirty="0" smtClean="0"/>
              <a:t>High-level language</a:t>
            </a:r>
          </a:p>
          <a:p>
            <a:pPr marL="298350" indent="-285750">
              <a:buFont typeface="Arial" charset="0"/>
              <a:buChar char="•"/>
            </a:pPr>
            <a:r>
              <a:rPr lang="en-GB" dirty="0" smtClean="0"/>
              <a:t>Object oriented </a:t>
            </a:r>
          </a:p>
          <a:p>
            <a:pPr marL="298350" indent="-285750">
              <a:buFont typeface="Arial" charset="0"/>
              <a:buChar char="•"/>
            </a:pPr>
            <a:r>
              <a:rPr lang="en-GB" dirty="0" smtClean="0"/>
              <a:t>Cross-platform</a:t>
            </a:r>
          </a:p>
          <a:p>
            <a:pPr marL="298350" indent="-285750">
              <a:buFont typeface="Arial" charset="0"/>
              <a:buChar char="•"/>
            </a:pPr>
            <a:r>
              <a:rPr lang="en-GB" dirty="0" smtClean="0"/>
              <a:t>Widely supported </a:t>
            </a:r>
          </a:p>
          <a:p>
            <a:pPr marL="298350" indent="-285750">
              <a:buFont typeface="Arial" charset="0"/>
              <a:buChar char="•"/>
            </a:pPr>
            <a:r>
              <a:rPr lang="en-GB" dirty="0" smtClean="0"/>
              <a:t>Active community </a:t>
            </a:r>
            <a:endParaRPr lang="en-GB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xmlns="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 dirty="0" smtClean="0"/>
              <a:t>Why</a:t>
            </a:r>
            <a:r>
              <a:rPr lang="de-DE" dirty="0" smtClean="0"/>
              <a:t> Python?</a:t>
            </a:r>
            <a:endParaRPr lang="de-DE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xmlns="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14" name="Google Shape;170;p18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932560" y="1826368"/>
            <a:ext cx="5053625" cy="355147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57454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xmlns="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ython</a:t>
            </a:r>
            <a:endParaRPr lang="de-DE" dirty="0"/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xmlns="" id="{9BDEAEEF-B3AF-4E25-860D-E6E06271F7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Arial" charset="0"/>
              <a:buChar char="•"/>
            </a:pPr>
            <a:r>
              <a:rPr lang="en-GB" dirty="0" smtClean="0"/>
              <a:t>Package includes a plethora of python libraries: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b="1" dirty="0" err="1" smtClean="0"/>
              <a:t>NumPy</a:t>
            </a:r>
            <a:r>
              <a:rPr lang="en-GB" b="1" dirty="0" smtClean="0"/>
              <a:t> 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dirty="0" smtClean="0"/>
              <a:t>Pandas 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dirty="0" err="1" smtClean="0"/>
              <a:t>Scipy</a:t>
            </a:r>
            <a:endParaRPr lang="en-GB" dirty="0" smtClean="0"/>
          </a:p>
          <a:p>
            <a:pPr marL="501750" lvl="1" indent="-285750">
              <a:buFont typeface="Arial" charset="0"/>
              <a:buChar char="•"/>
            </a:pPr>
            <a:r>
              <a:rPr lang="en-GB" dirty="0" err="1" smtClean="0"/>
              <a:t>iPython</a:t>
            </a:r>
            <a:r>
              <a:rPr lang="en-GB" dirty="0" smtClean="0"/>
              <a:t>/</a:t>
            </a:r>
            <a:r>
              <a:rPr lang="en-GB" dirty="0" err="1" smtClean="0"/>
              <a:t>Jupyter</a:t>
            </a:r>
            <a:r>
              <a:rPr lang="en-GB" dirty="0" smtClean="0"/>
              <a:t> Notebook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dirty="0" err="1" smtClean="0"/>
              <a:t>Matplotlib</a:t>
            </a:r>
            <a:r>
              <a:rPr lang="en-GB" dirty="0" smtClean="0"/>
              <a:t> </a:t>
            </a:r>
          </a:p>
          <a:p>
            <a:pPr marL="298350" indent="-285750">
              <a:buFont typeface="Arial" charset="0"/>
              <a:buChar char="•"/>
            </a:pPr>
            <a:r>
              <a:rPr lang="en-GB" dirty="0" smtClean="0"/>
              <a:t>More information and material: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sz="2000" dirty="0" smtClean="0">
                <a:solidFill>
                  <a:srgbClr val="444444"/>
                </a:solidFill>
                <a:ea typeface="Arial"/>
                <a:cs typeface="Arial"/>
                <a:sym typeface="Arial"/>
                <a:hlinkClick r:id="rId2"/>
              </a:rPr>
              <a:t>https://www.anaconda.com</a:t>
            </a:r>
            <a:r>
              <a:rPr lang="en-GB" sz="2000" dirty="0" smtClean="0">
                <a:solidFill>
                  <a:srgbClr val="444444"/>
                </a:solidFill>
                <a:ea typeface="Arial"/>
                <a:cs typeface="Arial"/>
                <a:sym typeface="Arial"/>
              </a:rPr>
              <a:t> 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sz="2000" u="sng" dirty="0" smtClean="0">
                <a:solidFill>
                  <a:schemeClr val="hlink"/>
                </a:solidFill>
                <a:ea typeface="Arial"/>
                <a:cs typeface="Arial"/>
                <a:sym typeface="Arial"/>
                <a:hlinkClick r:id="rId3"/>
              </a:rPr>
              <a:t>https://www.python.org/</a:t>
            </a:r>
            <a:endParaRPr lang="en-GB" sz="2000" dirty="0" smtClean="0">
              <a:solidFill>
                <a:srgbClr val="444444"/>
              </a:solidFill>
              <a:ea typeface="Arial"/>
              <a:cs typeface="Arial"/>
              <a:sym typeface="Arial"/>
            </a:endParaRPr>
          </a:p>
          <a:p>
            <a:pPr marL="298350" indent="-285750">
              <a:buFont typeface="Arial" charset="0"/>
              <a:buChar char="•"/>
            </a:pPr>
            <a:endParaRPr lang="en-GB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xmlns="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smtClean="0"/>
              <a:t>IDE-Setup: </a:t>
            </a:r>
            <a:r>
              <a:rPr lang="de-DE" dirty="0" err="1" smtClean="0"/>
              <a:t>Anaconda</a:t>
            </a:r>
            <a:endParaRPr lang="de-DE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xmlns="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682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NumP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84332" y="4656405"/>
            <a:ext cx="6623336" cy="1028547"/>
          </a:xfrm>
        </p:spPr>
        <p:txBody>
          <a:bodyPr/>
          <a:lstStyle/>
          <a:p>
            <a:pPr algn="ctr"/>
            <a:r>
              <a:rPr lang="en-US" dirty="0" err="1"/>
              <a:t>Numpy</a:t>
            </a:r>
            <a:r>
              <a:rPr lang="en-US" dirty="0"/>
              <a:t> is a library for the Python programming language, adding support for large, multi-dimensional arrays and matrices, along with a large collection of high-level mathematical functions to operate on these arrays.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60261" y="1345888"/>
            <a:ext cx="5271477" cy="2982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40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xmlns="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Num</a:t>
            </a:r>
            <a:r>
              <a:rPr lang="de-DE" dirty="0" err="1"/>
              <a:t>P</a:t>
            </a:r>
            <a:r>
              <a:rPr lang="de-DE" dirty="0" err="1" smtClean="0"/>
              <a:t>y</a:t>
            </a:r>
            <a:endParaRPr lang="de-DE" dirty="0"/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xmlns="" id="{9BDEAEEF-B3AF-4E25-860D-E6E06271F7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Arial" charset="0"/>
              <a:buChar char="•"/>
            </a:pPr>
            <a:r>
              <a:rPr lang="en-GB" dirty="0" err="1" smtClean="0"/>
              <a:t>NumPy</a:t>
            </a:r>
            <a:r>
              <a:rPr lang="en-GB" dirty="0" smtClean="0"/>
              <a:t> </a:t>
            </a:r>
            <a:r>
              <a:rPr lang="en-GB" dirty="0" smtClean="0"/>
              <a:t>is a Python C extension library for array-oriented computing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dirty="0" smtClean="0"/>
              <a:t>Efficient in-memory</a:t>
            </a:r>
            <a:endParaRPr lang="en-GB" dirty="0" smtClean="0"/>
          </a:p>
          <a:p>
            <a:pPr marL="501750" lvl="1" indent="-285750">
              <a:buFont typeface="Arial" charset="0"/>
              <a:buChar char="•"/>
            </a:pPr>
            <a:r>
              <a:rPr lang="en-GB" dirty="0" smtClean="0"/>
              <a:t>Homogeneous </a:t>
            </a:r>
            <a:r>
              <a:rPr lang="en-GB" dirty="0" smtClean="0"/>
              <a:t>(but types can be algebraic</a:t>
            </a:r>
            <a:r>
              <a:rPr lang="en-GB" dirty="0" smtClean="0"/>
              <a:t>)</a:t>
            </a:r>
          </a:p>
          <a:p>
            <a:pPr marL="501750" lvl="1" indent="-285750">
              <a:buFont typeface="Arial" charset="0"/>
              <a:buChar char="•"/>
            </a:pPr>
            <a:endParaRPr lang="en-GB" dirty="0"/>
          </a:p>
          <a:p>
            <a:pPr marL="501750" lvl="1" indent="-285750">
              <a:buFont typeface="Arial" charset="0"/>
              <a:buChar char="•"/>
            </a:pPr>
            <a:endParaRPr lang="en-GB" dirty="0" smtClean="0"/>
          </a:p>
          <a:p>
            <a:pPr marL="298350" indent="-285750">
              <a:buFont typeface="Arial" charset="0"/>
              <a:buChar char="•"/>
            </a:pPr>
            <a:endParaRPr lang="en-GB" dirty="0" smtClean="0"/>
          </a:p>
          <a:p>
            <a:pPr marL="298350" indent="-285750">
              <a:buFont typeface="Arial" charset="0"/>
              <a:buChar char="•"/>
            </a:pPr>
            <a:r>
              <a:rPr lang="en-GB" dirty="0" err="1" smtClean="0"/>
              <a:t>NumPy</a:t>
            </a:r>
            <a:r>
              <a:rPr lang="en-GB" dirty="0" smtClean="0"/>
              <a:t> </a:t>
            </a:r>
            <a:r>
              <a:rPr lang="en-GB" dirty="0" smtClean="0"/>
              <a:t>is suited to many applications 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dirty="0" smtClean="0"/>
              <a:t>Image/ Signal processing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dirty="0" smtClean="0"/>
              <a:t>Linear Algebra</a:t>
            </a:r>
            <a:endParaRPr lang="en-GB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xmlns="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NumPy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xmlns="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6</a:t>
            </a:fld>
            <a:endParaRPr lang="de-DE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3163431"/>
              </p:ext>
            </p:extLst>
          </p:nvPr>
        </p:nvGraphicFramePr>
        <p:xfrm>
          <a:off x="719400" y="3489571"/>
          <a:ext cx="6527412" cy="590843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725268"/>
                <a:gridCol w="725268"/>
                <a:gridCol w="725268"/>
                <a:gridCol w="725268"/>
                <a:gridCol w="725268"/>
                <a:gridCol w="725268"/>
                <a:gridCol w="725268"/>
                <a:gridCol w="725268"/>
                <a:gridCol w="725268"/>
              </a:tblGrid>
              <a:tr h="590843"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5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6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7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8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2250832" y="3037613"/>
            <a:ext cx="41218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Signal element of data-type (</a:t>
            </a:r>
            <a:r>
              <a:rPr lang="en-GB" b="1" dirty="0" err="1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dtype</a:t>
            </a:r>
            <a:r>
              <a:rPr lang="en-GB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)</a:t>
            </a:r>
            <a:endParaRPr lang="en-GB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7" name="Elbow Connector 6"/>
          <p:cNvCxnSpPr/>
          <p:nvPr/>
        </p:nvCxnSpPr>
        <p:spPr>
          <a:xfrm rot="10800000" flipV="1">
            <a:off x="1039320" y="3208213"/>
            <a:ext cx="1183376" cy="281358"/>
          </a:xfrm>
          <a:prstGeom prst="bentConnector3">
            <a:avLst>
              <a:gd name="adj1" fmla="val 99929"/>
            </a:avLst>
          </a:prstGeom>
          <a:ln w="31750">
            <a:solidFill>
              <a:schemeClr val="accent4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4865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xmlns="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NumPy</a:t>
            </a:r>
            <a:endParaRPr lang="de-DE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xmlns="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 smtClean="0"/>
              <a:t>NumPy</a:t>
            </a:r>
            <a:r>
              <a:rPr lang="de-DE" dirty="0" smtClean="0"/>
              <a:t> </a:t>
            </a:r>
            <a:r>
              <a:rPr lang="de-DE" dirty="0" err="1" smtClean="0"/>
              <a:t>Ecosystem</a:t>
            </a:r>
            <a:endParaRPr lang="de-DE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xmlns="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Rounded Rectangle 4"/>
          <p:cNvSpPr/>
          <p:nvPr/>
        </p:nvSpPr>
        <p:spPr>
          <a:xfrm>
            <a:off x="3510866" y="4884373"/>
            <a:ext cx="5473063" cy="858129"/>
          </a:xfrm>
          <a:prstGeom prst="roundRect">
            <a:avLst/>
          </a:prstGeom>
          <a:solidFill>
            <a:srgbClr val="59A7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 smtClean="0"/>
              <a:t>NumPy</a:t>
            </a:r>
            <a:endParaRPr lang="en-GB" dirty="0"/>
          </a:p>
        </p:txBody>
      </p:sp>
      <p:sp>
        <p:nvSpPr>
          <p:cNvPr id="15" name="Rounded Rectangle 14"/>
          <p:cNvSpPr/>
          <p:nvPr/>
        </p:nvSpPr>
        <p:spPr>
          <a:xfrm>
            <a:off x="7309874" y="4325728"/>
            <a:ext cx="1650657" cy="429064"/>
          </a:xfrm>
          <a:prstGeom prst="roundRect">
            <a:avLst/>
          </a:prstGeom>
          <a:solidFill>
            <a:srgbClr val="B1B5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 smtClean="0"/>
              <a:t>Matplotlib</a:t>
            </a:r>
            <a:endParaRPr lang="en-GB" dirty="0"/>
          </a:p>
        </p:txBody>
      </p:sp>
      <p:sp>
        <p:nvSpPr>
          <p:cNvPr id="16" name="Rounded Rectangle 15"/>
          <p:cNvSpPr/>
          <p:nvPr/>
        </p:nvSpPr>
        <p:spPr>
          <a:xfrm>
            <a:off x="3510866" y="4325728"/>
            <a:ext cx="1650657" cy="429064"/>
          </a:xfrm>
          <a:prstGeom prst="roundRect">
            <a:avLst/>
          </a:prstGeom>
          <a:solidFill>
            <a:srgbClr val="B1B5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 smtClean="0"/>
              <a:t>Scipy</a:t>
            </a:r>
            <a:endParaRPr lang="en-GB" dirty="0"/>
          </a:p>
        </p:txBody>
      </p:sp>
      <p:sp>
        <p:nvSpPr>
          <p:cNvPr id="17" name="Rounded Rectangle 16"/>
          <p:cNvSpPr/>
          <p:nvPr/>
        </p:nvSpPr>
        <p:spPr>
          <a:xfrm>
            <a:off x="5410370" y="4325728"/>
            <a:ext cx="1650657" cy="429064"/>
          </a:xfrm>
          <a:prstGeom prst="roundRect">
            <a:avLst/>
          </a:prstGeom>
          <a:solidFill>
            <a:srgbClr val="B1B5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Pandas</a:t>
            </a:r>
            <a:endParaRPr lang="en-GB" dirty="0"/>
          </a:p>
        </p:txBody>
      </p:sp>
      <p:sp>
        <p:nvSpPr>
          <p:cNvPr id="18" name="Rounded Rectangle 17"/>
          <p:cNvSpPr/>
          <p:nvPr/>
        </p:nvSpPr>
        <p:spPr>
          <a:xfrm>
            <a:off x="3536843" y="3795218"/>
            <a:ext cx="2183382" cy="429064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 smtClean="0"/>
              <a:t>Scikit</a:t>
            </a:r>
            <a:r>
              <a:rPr lang="en-GB" dirty="0" smtClean="0"/>
              <a:t>-image</a:t>
            </a:r>
            <a:endParaRPr lang="en-GB" dirty="0"/>
          </a:p>
        </p:txBody>
      </p:sp>
      <p:sp>
        <p:nvSpPr>
          <p:cNvPr id="25" name="Rounded Rectangle 24"/>
          <p:cNvSpPr/>
          <p:nvPr/>
        </p:nvSpPr>
        <p:spPr>
          <a:xfrm>
            <a:off x="5841600" y="3795218"/>
            <a:ext cx="1791831" cy="429064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 smtClean="0"/>
              <a:t>scikit</a:t>
            </a:r>
            <a:r>
              <a:rPr lang="en-GB" dirty="0" smtClean="0"/>
              <a:t>-learn</a:t>
            </a:r>
            <a:endParaRPr lang="en-GB" dirty="0"/>
          </a:p>
        </p:txBody>
      </p:sp>
      <p:sp>
        <p:nvSpPr>
          <p:cNvPr id="26" name="Rounded Rectangle 25"/>
          <p:cNvSpPr/>
          <p:nvPr/>
        </p:nvSpPr>
        <p:spPr>
          <a:xfrm>
            <a:off x="7754806" y="3795218"/>
            <a:ext cx="1196159" cy="429064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 smtClean="0"/>
              <a:t>Numba</a:t>
            </a:r>
            <a:endParaRPr lang="en-GB" dirty="0"/>
          </a:p>
        </p:txBody>
      </p:sp>
      <p:sp>
        <p:nvSpPr>
          <p:cNvPr id="27" name="Rounded Rectangle 26"/>
          <p:cNvSpPr/>
          <p:nvPr/>
        </p:nvSpPr>
        <p:spPr>
          <a:xfrm>
            <a:off x="3536843" y="3261027"/>
            <a:ext cx="1873527" cy="429064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 smtClean="0"/>
              <a:t>PyTabes</a:t>
            </a:r>
            <a:endParaRPr lang="en-GB" dirty="0"/>
          </a:p>
        </p:txBody>
      </p:sp>
      <p:sp>
        <p:nvSpPr>
          <p:cNvPr id="28" name="Rounded Rectangle 27"/>
          <p:cNvSpPr/>
          <p:nvPr/>
        </p:nvSpPr>
        <p:spPr>
          <a:xfrm>
            <a:off x="5602450" y="3262498"/>
            <a:ext cx="1458577" cy="429064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 smtClean="0"/>
              <a:t>statsmodels</a:t>
            </a:r>
            <a:endParaRPr lang="en-GB" dirty="0"/>
          </a:p>
        </p:txBody>
      </p:sp>
      <p:sp>
        <p:nvSpPr>
          <p:cNvPr id="29" name="Rounded Rectangle 28"/>
          <p:cNvSpPr/>
          <p:nvPr/>
        </p:nvSpPr>
        <p:spPr>
          <a:xfrm>
            <a:off x="7253107" y="3261027"/>
            <a:ext cx="1707424" cy="429064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 smtClean="0"/>
              <a:t>Biopython</a:t>
            </a:r>
            <a:endParaRPr lang="en-GB" dirty="0"/>
          </a:p>
        </p:txBody>
      </p:sp>
      <p:sp>
        <p:nvSpPr>
          <p:cNvPr id="30" name="Rounded Rectangle 29"/>
          <p:cNvSpPr/>
          <p:nvPr/>
        </p:nvSpPr>
        <p:spPr>
          <a:xfrm>
            <a:off x="3536843" y="2695334"/>
            <a:ext cx="1198643" cy="429064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 smtClean="0"/>
              <a:t>librosa</a:t>
            </a:r>
            <a:endParaRPr lang="en-GB" dirty="0"/>
          </a:p>
        </p:txBody>
      </p:sp>
      <p:sp>
        <p:nvSpPr>
          <p:cNvPr id="31" name="Rounded Rectangle 30"/>
          <p:cNvSpPr/>
          <p:nvPr/>
        </p:nvSpPr>
        <p:spPr>
          <a:xfrm>
            <a:off x="4826039" y="2692854"/>
            <a:ext cx="1409659" cy="429064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 smtClean="0"/>
              <a:t>OpenCV</a:t>
            </a:r>
            <a:endParaRPr lang="en-GB" dirty="0"/>
          </a:p>
        </p:txBody>
      </p:sp>
      <p:sp>
        <p:nvSpPr>
          <p:cNvPr id="32" name="Rounded Rectangle 31"/>
          <p:cNvSpPr/>
          <p:nvPr/>
        </p:nvSpPr>
        <p:spPr>
          <a:xfrm>
            <a:off x="6326251" y="2699859"/>
            <a:ext cx="1409659" cy="429064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 smtClean="0"/>
              <a:t>numexpr</a:t>
            </a:r>
            <a:endParaRPr lang="en-GB" dirty="0"/>
          </a:p>
        </p:txBody>
      </p:sp>
      <p:sp>
        <p:nvSpPr>
          <p:cNvPr id="33" name="Rounded Rectangle 32"/>
          <p:cNvSpPr/>
          <p:nvPr/>
        </p:nvSpPr>
        <p:spPr>
          <a:xfrm>
            <a:off x="7826463" y="2695865"/>
            <a:ext cx="1134068" cy="429064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 smtClean="0"/>
              <a:t>astropy</a:t>
            </a:r>
            <a:endParaRPr lang="en-GB" dirty="0"/>
          </a:p>
        </p:txBody>
      </p:sp>
      <p:sp>
        <p:nvSpPr>
          <p:cNvPr id="34" name="Inhaltsplatzhalter 22">
            <a:extLst>
              <a:ext uri="{FF2B5EF4-FFF2-40B4-BE49-F238E27FC236}">
                <a16:creationId xmlns:a16="http://schemas.microsoft.com/office/drawing/2014/main" xmlns="" id="{9BDEAEEF-B3AF-4E25-860D-E6E06271F7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10753200" cy="4644000"/>
          </a:xfrm>
        </p:spPr>
        <p:txBody>
          <a:bodyPr/>
          <a:lstStyle/>
          <a:p>
            <a:pPr marL="298350" indent="-285750">
              <a:buFont typeface="Arial" charset="0"/>
              <a:buChar char="•"/>
            </a:pPr>
            <a:r>
              <a:rPr lang="en-GB" dirty="0" err="1" smtClean="0"/>
              <a:t>NumPy</a:t>
            </a:r>
            <a:r>
              <a:rPr lang="en-GB" dirty="0" smtClean="0"/>
              <a:t> is the foundation of the python scientific stack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7208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2">
            <a:extLst>
              <a:ext uri="{FF2B5EF4-FFF2-40B4-BE49-F238E27FC236}">
                <a16:creationId xmlns:a16="http://schemas.microsoft.com/office/drawing/2014/main" xmlns="" id="{9BDEAEEF-B3AF-4E25-860D-E6E06271F7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10753200" cy="4644000"/>
          </a:xfrm>
        </p:spPr>
        <p:txBody>
          <a:bodyPr/>
          <a:lstStyle/>
          <a:p>
            <a:pPr marL="298350" indent="-285750">
              <a:buFont typeface="Arial" charset="0"/>
              <a:buChar char="•"/>
            </a:pPr>
            <a:r>
              <a:rPr lang="en-GB" dirty="0" smtClean="0"/>
              <a:t>One dimensional arrays have a </a:t>
            </a:r>
            <a:r>
              <a:rPr lang="en-GB" b="1" dirty="0" smtClean="0"/>
              <a:t>1-</a:t>
            </a:r>
            <a:r>
              <a:rPr lang="en-GB" b="1" i="1" dirty="0" smtClean="0"/>
              <a:t>tuple </a:t>
            </a:r>
            <a:r>
              <a:rPr lang="en-GB" i="1" dirty="0" smtClean="0"/>
              <a:t>for their shape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i="1" dirty="0" smtClean="0"/>
              <a:t>Shape: (5,)</a:t>
            </a:r>
          </a:p>
          <a:p>
            <a:pPr marL="501750" lvl="1" indent="-285750">
              <a:buFont typeface="Arial" charset="0"/>
              <a:buChar char="•"/>
            </a:pPr>
            <a:endParaRPr lang="en-GB" i="1" dirty="0" smtClean="0"/>
          </a:p>
          <a:p>
            <a:pPr marL="501750" lvl="1" indent="-285750">
              <a:buFont typeface="Arial" charset="0"/>
              <a:buChar char="•"/>
            </a:pPr>
            <a:endParaRPr lang="en-GB" i="1" dirty="0" smtClean="0"/>
          </a:p>
          <a:p>
            <a:pPr marL="298350" indent="-285750">
              <a:buFont typeface="Arial" charset="0"/>
              <a:buChar char="•"/>
            </a:pPr>
            <a:r>
              <a:rPr lang="en-GB" i="1" dirty="0" smtClean="0"/>
              <a:t>Two dimensional arrays have a 2-tuple 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i="1" dirty="0" smtClean="0"/>
              <a:t>Shape: (3,5)</a:t>
            </a:r>
          </a:p>
          <a:p>
            <a:pPr marL="501750" lvl="1" indent="-285750">
              <a:buFont typeface="Arial" charset="0"/>
              <a:buChar char="•"/>
            </a:pPr>
            <a:endParaRPr lang="en-GB" i="1" dirty="0" smtClean="0"/>
          </a:p>
          <a:p>
            <a:pPr marL="298350" indent="-285750">
              <a:buFont typeface="Arial" charset="0"/>
              <a:buChar char="•"/>
            </a:pPr>
            <a:r>
              <a:rPr lang="en-GB" i="1" dirty="0" smtClean="0"/>
              <a:t>Three dimensional arrays have a 3-tuple</a:t>
            </a:r>
          </a:p>
          <a:p>
            <a:pPr marL="501750" lvl="1" indent="-285750">
              <a:buFont typeface="Arial" charset="0"/>
              <a:buChar char="•"/>
            </a:pPr>
            <a:r>
              <a:rPr lang="en-GB" i="1" dirty="0" smtClean="0"/>
              <a:t>Shape: (3,5,3)</a:t>
            </a:r>
          </a:p>
        </p:txBody>
      </p:sp>
      <p:sp>
        <p:nvSpPr>
          <p:cNvPr id="22" name="Titel 21">
            <a:extLst>
              <a:ext uri="{FF2B5EF4-FFF2-40B4-BE49-F238E27FC236}">
                <a16:creationId xmlns:a16="http://schemas.microsoft.com/office/drawing/2014/main" xmlns="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NumPy</a:t>
            </a:r>
            <a:endParaRPr lang="de-DE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xmlns="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smtClean="0"/>
              <a:t>Array Shape</a:t>
            </a:r>
            <a:endParaRPr lang="de-DE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xmlns="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8</a:t>
            </a:fld>
            <a:endParaRPr lang="de-DE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8961599"/>
              </p:ext>
            </p:extLst>
          </p:nvPr>
        </p:nvGraphicFramePr>
        <p:xfrm>
          <a:off x="7913777" y="1491607"/>
          <a:ext cx="3078180" cy="590843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615636"/>
                <a:gridCol w="615636"/>
                <a:gridCol w="615636"/>
                <a:gridCol w="615636"/>
                <a:gridCol w="615636"/>
              </a:tblGrid>
              <a:tr h="590843"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4984218"/>
              </p:ext>
            </p:extLst>
          </p:nvPr>
        </p:nvGraphicFramePr>
        <p:xfrm>
          <a:off x="7913777" y="2300110"/>
          <a:ext cx="3078180" cy="1676825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615636"/>
                <a:gridCol w="615636"/>
                <a:gridCol w="615636"/>
                <a:gridCol w="615636"/>
                <a:gridCol w="615636"/>
              </a:tblGrid>
              <a:tr h="579545"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482068"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5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6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7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8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9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482068"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0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1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2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3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4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568610"/>
              </p:ext>
            </p:extLst>
          </p:nvPr>
        </p:nvGraphicFramePr>
        <p:xfrm>
          <a:off x="7913777" y="4159328"/>
          <a:ext cx="3123030" cy="1676825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624606"/>
                <a:gridCol w="624606"/>
                <a:gridCol w="624606"/>
                <a:gridCol w="624606"/>
                <a:gridCol w="624606"/>
              </a:tblGrid>
              <a:tr h="579545"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482068"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5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6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7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8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9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482068"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0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1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2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3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4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8118339"/>
              </p:ext>
            </p:extLst>
          </p:nvPr>
        </p:nvGraphicFramePr>
        <p:xfrm>
          <a:off x="8066177" y="4311728"/>
          <a:ext cx="3123030" cy="1676825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624606"/>
                <a:gridCol w="624606"/>
                <a:gridCol w="624606"/>
                <a:gridCol w="624606"/>
                <a:gridCol w="624606"/>
              </a:tblGrid>
              <a:tr h="579545"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482068"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5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6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7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8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9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482068"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0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1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2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3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4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8118339"/>
              </p:ext>
            </p:extLst>
          </p:nvPr>
        </p:nvGraphicFramePr>
        <p:xfrm>
          <a:off x="8218577" y="4464128"/>
          <a:ext cx="3123030" cy="1676825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624606"/>
                <a:gridCol w="624606"/>
                <a:gridCol w="624606"/>
                <a:gridCol w="624606"/>
                <a:gridCol w="624606"/>
              </a:tblGrid>
              <a:tr h="579545"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0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2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3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4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482068"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5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6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7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8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9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482068"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0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1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2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3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</a:rPr>
                        <a:t>14</a:t>
                      </a:r>
                      <a:endParaRPr lang="en-GB" sz="30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0562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xmlns="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NumPy</a:t>
            </a:r>
            <a:endParaRPr lang="de-DE" dirty="0"/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xmlns="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 smtClean="0"/>
              <a:t>Getting</a:t>
            </a:r>
            <a:r>
              <a:rPr lang="de-DE" dirty="0" smtClean="0"/>
              <a:t> </a:t>
            </a:r>
            <a:r>
              <a:rPr lang="de-DE" dirty="0" err="1" smtClean="0"/>
              <a:t>started</a:t>
            </a:r>
            <a:endParaRPr lang="de-DE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xmlns="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4" t="31456" b="31152"/>
          <a:stretch/>
        </p:blipFill>
        <p:spPr>
          <a:xfrm>
            <a:off x="5933569" y="2138289"/>
            <a:ext cx="5691874" cy="3137095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719400" y="1845484"/>
            <a:ext cx="6096000" cy="452431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$ Python3 </a:t>
            </a:r>
          </a:p>
          <a:p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&gt;&gt;&gt; Import </a:t>
            </a:r>
            <a:r>
              <a:rPr lang="en-GB" i="1" dirty="0" err="1" smtClean="0">
                <a:latin typeface="Courier New" charset="0"/>
                <a:ea typeface="Courier New" charset="0"/>
                <a:cs typeface="Courier New" charset="0"/>
              </a:rPr>
              <a:t>numpy</a:t>
            </a: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 as np </a:t>
            </a:r>
          </a:p>
          <a:p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&gt;&gt;&gt; A = </a:t>
            </a:r>
            <a:r>
              <a:rPr lang="en-GB" i="1" dirty="0" err="1" smtClean="0">
                <a:latin typeface="Courier New" charset="0"/>
                <a:ea typeface="Courier New" charset="0"/>
                <a:cs typeface="Courier New" charset="0"/>
              </a:rPr>
              <a:t>np.array</a:t>
            </a: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([1,2,3,4])</a:t>
            </a:r>
          </a:p>
          <a:p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&gt;&gt;&gt; A2 = </a:t>
            </a:r>
            <a:r>
              <a:rPr lang="en-GB" i="1" dirty="0" err="1" smtClean="0">
                <a:latin typeface="Courier New" charset="0"/>
                <a:ea typeface="Courier New" charset="0"/>
                <a:cs typeface="Courier New" charset="0"/>
              </a:rPr>
              <a:t>A.reshape</a:t>
            </a:r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(2,2)</a:t>
            </a:r>
          </a:p>
          <a:p>
            <a:r>
              <a:rPr lang="en-GB" i="1" dirty="0" smtClean="0">
                <a:latin typeface="Courier New" charset="0"/>
                <a:ea typeface="Courier New" charset="0"/>
                <a:cs typeface="Courier New" charset="0"/>
              </a:rPr>
              <a:t>&gt;&gt;&gt; A2 </a:t>
            </a:r>
            <a:endParaRPr lang="en-GB" i="1" dirty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is-IS" dirty="0">
                <a:latin typeface="Courier New" charset="0"/>
                <a:ea typeface="Courier New" charset="0"/>
                <a:cs typeface="Courier New" charset="0"/>
              </a:rPr>
              <a:t>array([[1, 2],</a:t>
            </a:r>
          </a:p>
          <a:p>
            <a:r>
              <a:rPr lang="is-IS" dirty="0">
                <a:latin typeface="Courier New" charset="0"/>
                <a:ea typeface="Courier New" charset="0"/>
                <a:cs typeface="Courier New" charset="0"/>
              </a:rPr>
              <a:t>       [3, 4</a:t>
            </a:r>
            <a:r>
              <a:rPr lang="is-IS" dirty="0" smtClean="0">
                <a:latin typeface="Courier New" charset="0"/>
                <a:ea typeface="Courier New" charset="0"/>
                <a:cs typeface="Courier New" charset="0"/>
              </a:rPr>
              <a:t>]])</a:t>
            </a:r>
          </a:p>
          <a:p>
            <a:r>
              <a:rPr lang="is-IS" dirty="0" smtClean="0">
                <a:latin typeface="Courier New" charset="0"/>
                <a:ea typeface="Courier New" charset="0"/>
                <a:cs typeface="Courier New" charset="0"/>
              </a:rPr>
              <a:t>&gt;&gt;&gt; A3 = np.array([A2,A2,A2])</a:t>
            </a:r>
          </a:p>
          <a:p>
            <a:r>
              <a:rPr lang="is-IS" dirty="0">
                <a:latin typeface="Courier New" charset="0"/>
                <a:ea typeface="Courier New" charset="0"/>
                <a:cs typeface="Courier New" charset="0"/>
              </a:rPr>
              <a:t>array([[[1, 2],</a:t>
            </a:r>
          </a:p>
          <a:p>
            <a:r>
              <a:rPr lang="is-IS" dirty="0">
                <a:latin typeface="Courier New" charset="0"/>
                <a:ea typeface="Courier New" charset="0"/>
                <a:cs typeface="Courier New" charset="0"/>
              </a:rPr>
              <a:t>        [3, 4</a:t>
            </a:r>
            <a:r>
              <a:rPr lang="is-IS" dirty="0" smtClean="0">
                <a:latin typeface="Courier New" charset="0"/>
                <a:ea typeface="Courier New" charset="0"/>
                <a:cs typeface="Courier New" charset="0"/>
              </a:rPr>
              <a:t>]],</a:t>
            </a:r>
          </a:p>
          <a:p>
            <a:r>
              <a:rPr lang="is-IS" dirty="0">
                <a:latin typeface="Courier New" charset="0"/>
                <a:ea typeface="Courier New" charset="0"/>
                <a:cs typeface="Courier New" charset="0"/>
              </a:rPr>
              <a:t>       [[1, 2],</a:t>
            </a:r>
          </a:p>
          <a:p>
            <a:r>
              <a:rPr lang="is-IS" dirty="0">
                <a:latin typeface="Courier New" charset="0"/>
                <a:ea typeface="Courier New" charset="0"/>
                <a:cs typeface="Courier New" charset="0"/>
              </a:rPr>
              <a:t>        [3, 4</a:t>
            </a:r>
            <a:r>
              <a:rPr lang="is-IS" dirty="0" smtClean="0">
                <a:latin typeface="Courier New" charset="0"/>
                <a:ea typeface="Courier New" charset="0"/>
                <a:cs typeface="Courier New" charset="0"/>
              </a:rPr>
              <a:t>]],</a:t>
            </a:r>
            <a:endParaRPr lang="is-IS" dirty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is-IS" dirty="0">
                <a:latin typeface="Courier New" charset="0"/>
                <a:ea typeface="Courier New" charset="0"/>
                <a:cs typeface="Courier New" charset="0"/>
              </a:rPr>
              <a:t>       [[1, 2],</a:t>
            </a:r>
          </a:p>
          <a:p>
            <a:r>
              <a:rPr lang="is-IS" dirty="0">
                <a:latin typeface="Courier New" charset="0"/>
                <a:ea typeface="Courier New" charset="0"/>
                <a:cs typeface="Courier New" charset="0"/>
              </a:rPr>
              <a:t>        [3, 4]]])</a:t>
            </a:r>
          </a:p>
          <a:p>
            <a:endParaRPr lang="is-IS" dirty="0">
              <a:latin typeface="Courier New" charset="0"/>
              <a:ea typeface="Courier New" charset="0"/>
              <a:cs typeface="Courier New" charset="0"/>
            </a:endParaRPr>
          </a:p>
          <a:p>
            <a:endParaRPr lang="en-GB" i="1" dirty="0">
              <a:latin typeface="Courier New" charset="0"/>
              <a:ea typeface="Courier New" charset="0"/>
              <a:cs typeface="Courier New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5307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agenda name=&quot;Guidelines&quot; title=&quot;Guideline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heme/theme1.xml><?xml version="1.0" encoding="utf-8"?>
<a:theme xmlns:a="http://schemas.openxmlformats.org/drawingml/2006/main" name="Office">
  <a:themeElements>
    <a:clrScheme name="Fakultät für Angewandte Informatik">
      <a:dk1>
        <a:sysClr val="windowText" lastClr="000000"/>
      </a:dk1>
      <a:lt1>
        <a:sysClr val="window" lastClr="FFFFFF"/>
      </a:lt1>
      <a:dk2>
        <a:srgbClr val="489324"/>
      </a:dk2>
      <a:lt2>
        <a:srgbClr val="FFFFFF"/>
      </a:lt2>
      <a:accent1>
        <a:srgbClr val="505050"/>
      </a:accent1>
      <a:accent2>
        <a:srgbClr val="969696"/>
      </a:accent2>
      <a:accent3>
        <a:srgbClr val="C8C8C8"/>
      </a:accent3>
      <a:accent4>
        <a:srgbClr val="505050"/>
      </a:accent4>
      <a:accent5>
        <a:srgbClr val="969696"/>
      </a:accent5>
      <a:accent6>
        <a:srgbClr val="C8C8C8"/>
      </a:accent6>
      <a:hlink>
        <a:srgbClr val="000000"/>
      </a:hlink>
      <a:folHlink>
        <a:srgbClr val="061D28"/>
      </a:folHlink>
    </a:clrScheme>
    <a:fontScheme name="UA_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inrichtungen, Kommunikation">
        <a:dk1>
          <a:sysClr val="windowText" lastClr="000000"/>
        </a:dk1>
        <a:lt1>
          <a:sysClr val="window" lastClr="FFFFFF"/>
        </a:lt1>
        <a:dk2>
          <a:srgbClr val="AD007C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Katholisch-Theologische Fakultät">
        <a:dk1>
          <a:sysClr val="windowText" lastClr="000000"/>
        </a:dk1>
        <a:lt1>
          <a:sysClr val="window" lastClr="FFFFFF"/>
        </a:lt1>
        <a:dk2>
          <a:srgbClr val="F6A800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sophisch-Sozialwissenschaftliche Fakultät">
        <a:dk1>
          <a:sysClr val="windowText" lastClr="000000"/>
        </a:dk1>
        <a:lt1>
          <a:sysClr val="window" lastClr="FFFFFF"/>
        </a:lt1>
        <a:dk2>
          <a:srgbClr val="EB690B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logisch-Historische Fakultät">
        <a:dk1>
          <a:sysClr val="windowText" lastClr="000000"/>
        </a:dk1>
        <a:lt1>
          <a:sysClr val="window" lastClr="FFFFFF"/>
        </a:lt1>
        <a:dk2>
          <a:srgbClr val="D4002D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Wirtschaftswissenschaftliche Fakultät">
        <a:dk1>
          <a:sysClr val="windowText" lastClr="000000"/>
        </a:dk1>
        <a:lt1>
          <a:sysClr val="window" lastClr="FFFFFF"/>
        </a:lt1>
        <a:dk2>
          <a:srgbClr val="00AECF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Juristische Fakultät">
        <a:dk1>
          <a:sysClr val="windowText" lastClr="000000"/>
        </a:dk1>
        <a:lt1>
          <a:sysClr val="window" lastClr="FFFFFF"/>
        </a:lt1>
        <a:dk2>
          <a:srgbClr val="0087C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edizinische Fakultät">
        <a:dk1>
          <a:sysClr val="windowText" lastClr="000000"/>
        </a:dk1>
        <a:lt1>
          <a:sysClr val="window" lastClr="FFFFFF"/>
        </a:lt1>
        <a:dk2>
          <a:srgbClr val="15558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Fakultät für Angewandte Informatik">
        <a:dk1>
          <a:sysClr val="windowText" lastClr="000000"/>
        </a:dk1>
        <a:lt1>
          <a:sysClr val="window" lastClr="FFFFFF"/>
        </a:lt1>
        <a:dk2>
          <a:srgbClr val="489324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athematisch-Naturwissenschaftliche Fakultät">
        <a:dk1>
          <a:sysClr val="windowText" lastClr="000000"/>
        </a:dk1>
        <a:lt1>
          <a:sysClr val="window" lastClr="FFFFFF"/>
        </a:lt1>
        <a:dk2>
          <a:srgbClr val="00656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Universitätsleitung, gesamtuniversitär">
        <a:dk1>
          <a:sysClr val="windowText" lastClr="000000"/>
        </a:dk1>
        <a:lt1>
          <a:sysClr val="window" lastClr="FFFFFF"/>
        </a:lt1>
        <a:dk2>
          <a:srgbClr val="B3B3B3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</a:extraClrSchemeLst>
  <a:custClrLst>
    <a:custClr name="Einrichtungen, Kommunikation">
      <a:srgbClr val="AD007C"/>
    </a:custClr>
    <a:custClr name="Katholisch-Theologische Fakultät">
      <a:srgbClr val="F6A800"/>
    </a:custClr>
    <a:custClr name="Philosophisch-Sozialwissenschaftliche Fakultät">
      <a:srgbClr val="EB690B"/>
    </a:custClr>
    <a:custClr name="Philologisch-Historische Fakultät">
      <a:srgbClr val="D4002D"/>
    </a:custClr>
    <a:custClr name="Wirtschaftswissenschaftliche Fakultät">
      <a:srgbClr val="00AECF"/>
    </a:custClr>
    <a:custClr name="Juristische Fakultät">
      <a:srgbClr val="0087C1"/>
    </a:custClr>
    <a:custClr name="Medizinische Fakultät">
      <a:srgbClr val="155581"/>
    </a:custClr>
    <a:custClr name="Fakultät für Angewandte Informatik">
      <a:srgbClr val="489324"/>
    </a:custClr>
    <a:custClr name="Mathematisch-Naturwissenschaftliche Fakultät">
      <a:srgbClr val="006561"/>
    </a:custClr>
    <a:custClr name="Universitätsleitung, gesamtuniversitär">
      <a:srgbClr val="B3B3B3"/>
    </a:custClr>
  </a:custClrLst>
  <a:extLst>
    <a:ext uri="{05A4C25C-085E-4340-85A3-A5531E510DB2}">
      <thm15:themeFamily xmlns:thm15="http://schemas.microsoft.com/office/thememl/2012/main" name="Präsentationsmaster Vorlage Med" id="{72429FFB-2FE4-A44A-BDFE-3F07E7A0FD15}" vid="{96980407-6B6E-EB45-8E9F-B6277BF5B43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aesentationsmaster-Vorlage-FAI (1)</Template>
  <TotalTime>11611</TotalTime>
  <Words>1129</Words>
  <Application>Microsoft Macintosh PowerPoint</Application>
  <PresentationFormat>Widescreen</PresentationFormat>
  <Paragraphs>585</Paragraphs>
  <Slides>2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Arial Black</vt:lpstr>
      <vt:lpstr>Arial Hebrew</vt:lpstr>
      <vt:lpstr>Courier New</vt:lpstr>
      <vt:lpstr>Monaco</vt:lpstr>
      <vt:lpstr>Symbol</vt:lpstr>
      <vt:lpstr>Wingdings</vt:lpstr>
      <vt:lpstr>Arial</vt:lpstr>
      <vt:lpstr>Office</vt:lpstr>
      <vt:lpstr>T1: Introduction to Scientific Computing: Python – Numpy and Matplotlib</vt:lpstr>
      <vt:lpstr>Agenda</vt:lpstr>
      <vt:lpstr>Python</vt:lpstr>
      <vt:lpstr>Python</vt:lpstr>
      <vt:lpstr>NumPy</vt:lpstr>
      <vt:lpstr>NumPy</vt:lpstr>
      <vt:lpstr>NumPy</vt:lpstr>
      <vt:lpstr>NumPy</vt:lpstr>
      <vt:lpstr>NumPy</vt:lpstr>
      <vt:lpstr>NumPy</vt:lpstr>
      <vt:lpstr>NumPy</vt:lpstr>
      <vt:lpstr>NumPy</vt:lpstr>
      <vt:lpstr>NumPy</vt:lpstr>
      <vt:lpstr>NumPy</vt:lpstr>
      <vt:lpstr>NumPy</vt:lpstr>
      <vt:lpstr>Matplotlib</vt:lpstr>
      <vt:lpstr>Matplotlib</vt:lpstr>
      <vt:lpstr>Matplotlib</vt:lpstr>
      <vt:lpstr>Deep Learning (NumPy)</vt:lpstr>
      <vt:lpstr>Excercise </vt:lpstr>
    </vt:vector>
  </TitlesOfParts>
  <Company/>
  <LinksUpToDate>false</LinksUpToDate>
  <SharedDoc>false</SharedDoc>
  <HyperlinksChanged>false</HyperlinksChanged>
  <AppVersion>15.003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1: Introduction to Scientific Computing: Python and Numpy</dc:title>
  <dc:creator>Alice Baird</dc:creator>
  <cp:lastModifiedBy>Alice Baird</cp:lastModifiedBy>
  <cp:revision>39</cp:revision>
  <dcterms:created xsi:type="dcterms:W3CDTF">2019-10-15T09:00:09Z</dcterms:created>
  <dcterms:modified xsi:type="dcterms:W3CDTF">2019-10-23T14:18:31Z</dcterms:modified>
</cp:coreProperties>
</file>